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961" r:id="rId5"/>
    <p:sldMasterId id="2147483972" r:id="rId6"/>
    <p:sldMasterId id="2147483983" r:id="rId7"/>
  </p:sldMasterIdLst>
  <p:notesMasterIdLst>
    <p:notesMasterId r:id="rId124"/>
  </p:notesMasterIdLst>
  <p:handoutMasterIdLst>
    <p:handoutMasterId r:id="rId125"/>
  </p:handoutMasterIdLst>
  <p:sldIdLst>
    <p:sldId id="256" r:id="rId8"/>
    <p:sldId id="349" r:id="rId9"/>
    <p:sldId id="454" r:id="rId10"/>
    <p:sldId id="447" r:id="rId11"/>
    <p:sldId id="449" r:id="rId12"/>
    <p:sldId id="450" r:id="rId13"/>
    <p:sldId id="451" r:id="rId14"/>
    <p:sldId id="452" r:id="rId15"/>
    <p:sldId id="453" r:id="rId16"/>
    <p:sldId id="446" r:id="rId17"/>
    <p:sldId id="448" r:id="rId18"/>
    <p:sldId id="458" r:id="rId19"/>
    <p:sldId id="457" r:id="rId20"/>
    <p:sldId id="461" r:id="rId21"/>
    <p:sldId id="462" r:id="rId22"/>
    <p:sldId id="485" r:id="rId23"/>
    <p:sldId id="486" r:id="rId24"/>
    <p:sldId id="463" r:id="rId25"/>
    <p:sldId id="464" r:id="rId26"/>
    <p:sldId id="487" r:id="rId27"/>
    <p:sldId id="455" r:id="rId28"/>
    <p:sldId id="456" r:id="rId29"/>
    <p:sldId id="516" r:id="rId30"/>
    <p:sldId id="488" r:id="rId31"/>
    <p:sldId id="473" r:id="rId32"/>
    <p:sldId id="474" r:id="rId33"/>
    <p:sldId id="482" r:id="rId34"/>
    <p:sldId id="475" r:id="rId35"/>
    <p:sldId id="476" r:id="rId36"/>
    <p:sldId id="477" r:id="rId37"/>
    <p:sldId id="478" r:id="rId38"/>
    <p:sldId id="479" r:id="rId39"/>
    <p:sldId id="480" r:id="rId40"/>
    <p:sldId id="481" r:id="rId41"/>
    <p:sldId id="483" r:id="rId42"/>
    <p:sldId id="489" r:id="rId43"/>
    <p:sldId id="490" r:id="rId44"/>
    <p:sldId id="491" r:id="rId45"/>
    <p:sldId id="465" r:id="rId46"/>
    <p:sldId id="466" r:id="rId47"/>
    <p:sldId id="470" r:id="rId48"/>
    <p:sldId id="467" r:id="rId49"/>
    <p:sldId id="471" r:id="rId50"/>
    <p:sldId id="492" r:id="rId51"/>
    <p:sldId id="468" r:id="rId52"/>
    <p:sldId id="472" r:id="rId53"/>
    <p:sldId id="494" r:id="rId54"/>
    <p:sldId id="495" r:id="rId55"/>
    <p:sldId id="497" r:id="rId56"/>
    <p:sldId id="498" r:id="rId57"/>
    <p:sldId id="469" r:id="rId58"/>
    <p:sldId id="518" r:id="rId59"/>
    <p:sldId id="519" r:id="rId60"/>
    <p:sldId id="521" r:id="rId61"/>
    <p:sldId id="520" r:id="rId62"/>
    <p:sldId id="523" r:id="rId63"/>
    <p:sldId id="522" r:id="rId64"/>
    <p:sldId id="524" r:id="rId65"/>
    <p:sldId id="526" r:id="rId66"/>
    <p:sldId id="527" r:id="rId67"/>
    <p:sldId id="528" r:id="rId68"/>
    <p:sldId id="529" r:id="rId69"/>
    <p:sldId id="530" r:id="rId70"/>
    <p:sldId id="532" r:id="rId71"/>
    <p:sldId id="533" r:id="rId72"/>
    <p:sldId id="544" r:id="rId73"/>
    <p:sldId id="545" r:id="rId74"/>
    <p:sldId id="534" r:id="rId75"/>
    <p:sldId id="535" r:id="rId76"/>
    <p:sldId id="536" r:id="rId77"/>
    <p:sldId id="537" r:id="rId78"/>
    <p:sldId id="538" r:id="rId79"/>
    <p:sldId id="539" r:id="rId80"/>
    <p:sldId id="540" r:id="rId81"/>
    <p:sldId id="541" r:id="rId82"/>
    <p:sldId id="542" r:id="rId83"/>
    <p:sldId id="543" r:id="rId84"/>
    <p:sldId id="546" r:id="rId85"/>
    <p:sldId id="547" r:id="rId86"/>
    <p:sldId id="503" r:id="rId87"/>
    <p:sldId id="552" r:id="rId88"/>
    <p:sldId id="504" r:id="rId89"/>
    <p:sldId id="548" r:id="rId90"/>
    <p:sldId id="576" r:id="rId91"/>
    <p:sldId id="577" r:id="rId92"/>
    <p:sldId id="506" r:id="rId93"/>
    <p:sldId id="553" r:id="rId94"/>
    <p:sldId id="554" r:id="rId95"/>
    <p:sldId id="555" r:id="rId96"/>
    <p:sldId id="558" r:id="rId97"/>
    <p:sldId id="556" r:id="rId98"/>
    <p:sldId id="557" r:id="rId99"/>
    <p:sldId id="559" r:id="rId100"/>
    <p:sldId id="560" r:id="rId101"/>
    <p:sldId id="561" r:id="rId102"/>
    <p:sldId id="562" r:id="rId103"/>
    <p:sldId id="564" r:id="rId104"/>
    <p:sldId id="565" r:id="rId105"/>
    <p:sldId id="566" r:id="rId106"/>
    <p:sldId id="567" r:id="rId107"/>
    <p:sldId id="568" r:id="rId108"/>
    <p:sldId id="569" r:id="rId109"/>
    <p:sldId id="570" r:id="rId110"/>
    <p:sldId id="572" r:id="rId111"/>
    <p:sldId id="573" r:id="rId112"/>
    <p:sldId id="574" r:id="rId113"/>
    <p:sldId id="575" r:id="rId114"/>
    <p:sldId id="509" r:id="rId115"/>
    <p:sldId id="508" r:id="rId116"/>
    <p:sldId id="578" r:id="rId117"/>
    <p:sldId id="511" r:id="rId118"/>
    <p:sldId id="515" r:id="rId119"/>
    <p:sldId id="514" r:id="rId120"/>
    <p:sldId id="384" r:id="rId121"/>
    <p:sldId id="444" r:id="rId122"/>
    <p:sldId id="496" r:id="rId123"/>
  </p:sldIdLst>
  <p:sldSz cx="9144000" cy="6858000" type="screen4x3"/>
  <p:notesSz cx="7099300" cy="10234613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F06BA"/>
    <a:srgbClr val="FFBDBD"/>
    <a:srgbClr val="FA655F"/>
    <a:srgbClr val="4D4D4D"/>
    <a:srgbClr val="FF6600"/>
    <a:srgbClr val="FFFFCC"/>
    <a:srgbClr val="954333"/>
    <a:srgbClr val="5B5BC9"/>
    <a:srgbClr val="C76F5D"/>
    <a:srgbClr val="EC5D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30" autoAdjust="0"/>
    <p:restoredTop sz="90244" autoAdjust="0"/>
  </p:normalViewPr>
  <p:slideViewPr>
    <p:cSldViewPr>
      <p:cViewPr varScale="1">
        <p:scale>
          <a:sx n="103" d="100"/>
          <a:sy n="103" d="100"/>
        </p:scale>
        <p:origin x="1782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2016" y="-84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117" Type="http://schemas.openxmlformats.org/officeDocument/2006/relationships/slide" Target="slides/slide110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slide" Target="slides/slide82.xml"/><Relationship Id="rId112" Type="http://schemas.openxmlformats.org/officeDocument/2006/relationships/slide" Target="slides/slide105.xml"/><Relationship Id="rId16" Type="http://schemas.openxmlformats.org/officeDocument/2006/relationships/slide" Target="slides/slide9.xml"/><Relationship Id="rId107" Type="http://schemas.openxmlformats.org/officeDocument/2006/relationships/slide" Target="slides/slide100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102" Type="http://schemas.openxmlformats.org/officeDocument/2006/relationships/slide" Target="slides/slide95.xml"/><Relationship Id="rId123" Type="http://schemas.openxmlformats.org/officeDocument/2006/relationships/slide" Target="slides/slide116.xml"/><Relationship Id="rId12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3.xml"/><Relationship Id="rId95" Type="http://schemas.openxmlformats.org/officeDocument/2006/relationships/slide" Target="slides/slide88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100" Type="http://schemas.openxmlformats.org/officeDocument/2006/relationships/slide" Target="slides/slide93.xml"/><Relationship Id="rId105" Type="http://schemas.openxmlformats.org/officeDocument/2006/relationships/slide" Target="slides/slide98.xml"/><Relationship Id="rId113" Type="http://schemas.openxmlformats.org/officeDocument/2006/relationships/slide" Target="slides/slide106.xml"/><Relationship Id="rId118" Type="http://schemas.openxmlformats.org/officeDocument/2006/relationships/slide" Target="slides/slide111.xml"/><Relationship Id="rId126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93" Type="http://schemas.openxmlformats.org/officeDocument/2006/relationships/slide" Target="slides/slide86.xml"/><Relationship Id="rId98" Type="http://schemas.openxmlformats.org/officeDocument/2006/relationships/slide" Target="slides/slide91.xml"/><Relationship Id="rId121" Type="http://schemas.openxmlformats.org/officeDocument/2006/relationships/slide" Target="slides/slide11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103" Type="http://schemas.openxmlformats.org/officeDocument/2006/relationships/slide" Target="slides/slide96.xml"/><Relationship Id="rId108" Type="http://schemas.openxmlformats.org/officeDocument/2006/relationships/slide" Target="slides/slide101.xml"/><Relationship Id="rId116" Type="http://schemas.openxmlformats.org/officeDocument/2006/relationships/slide" Target="slides/slide109.xml"/><Relationship Id="rId124" Type="http://schemas.openxmlformats.org/officeDocument/2006/relationships/notesMaster" Target="notesMasters/notesMaster1.xml"/><Relationship Id="rId129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11" Type="http://schemas.openxmlformats.org/officeDocument/2006/relationships/slide" Target="slides/slide10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6" Type="http://schemas.openxmlformats.org/officeDocument/2006/relationships/slide" Target="slides/slide99.xml"/><Relationship Id="rId114" Type="http://schemas.openxmlformats.org/officeDocument/2006/relationships/slide" Target="slides/slide107.xml"/><Relationship Id="rId119" Type="http://schemas.openxmlformats.org/officeDocument/2006/relationships/slide" Target="slides/slide112.xml"/><Relationship Id="rId127" Type="http://schemas.openxmlformats.org/officeDocument/2006/relationships/viewProps" Target="viewProp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94" Type="http://schemas.openxmlformats.org/officeDocument/2006/relationships/slide" Target="slides/slide87.xml"/><Relationship Id="rId99" Type="http://schemas.openxmlformats.org/officeDocument/2006/relationships/slide" Target="slides/slide92.xml"/><Relationship Id="rId101" Type="http://schemas.openxmlformats.org/officeDocument/2006/relationships/slide" Target="slides/slide94.xml"/><Relationship Id="rId122" Type="http://schemas.openxmlformats.org/officeDocument/2006/relationships/slide" Target="slides/slide1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slide" Target="slides/slide10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slide" Target="slides/slide90.xml"/><Relationship Id="rId104" Type="http://schemas.openxmlformats.org/officeDocument/2006/relationships/slide" Target="slides/slide97.xml"/><Relationship Id="rId120" Type="http://schemas.openxmlformats.org/officeDocument/2006/relationships/slide" Target="slides/slide113.xml"/><Relationship Id="rId125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4.xml"/><Relationship Id="rId92" Type="http://schemas.openxmlformats.org/officeDocument/2006/relationships/slide" Target="slides/slide85.xml"/><Relationship Id="rId2" Type="http://schemas.openxmlformats.org/officeDocument/2006/relationships/customXml" Target="../customXml/item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slide" Target="slides/slide80.xml"/><Relationship Id="rId110" Type="http://schemas.openxmlformats.org/officeDocument/2006/relationships/slide" Target="slides/slide103.xml"/><Relationship Id="rId115" Type="http://schemas.openxmlformats.org/officeDocument/2006/relationships/slide" Target="slides/slide108.xml"/><Relationship Id="rId61" Type="http://schemas.openxmlformats.org/officeDocument/2006/relationships/slide" Target="slides/slide54.xml"/><Relationship Id="rId82" Type="http://schemas.openxmlformats.org/officeDocument/2006/relationships/slide" Target="slides/slide7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F85DFC1-A479-4D08-9122-DC0D7286DBC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752968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8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48.44904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9-09-05T12:09:57.476"/>
    </inkml:context>
    <inkml:brush xml:id="br0">
      <inkml:brushProperty name="width" value="0.05292" units="cm"/>
      <inkml:brushProperty name="height" value="0.05292" units="cm"/>
    </inkml:brush>
    <inkml:brush xml:id="br1">
      <inkml:brushProperty name="width" value="0.05292" units="cm"/>
      <inkml:brushProperty name="height" value="0.05292" units="cm"/>
      <inkml:brushProperty name="color" value="#0070C0"/>
    </inkml:brush>
    <inkml:brush xml:id="br2">
      <inkml:brushProperty name="width" value="0.05292" units="cm"/>
      <inkml:brushProperty name="height" value="0.05292" units="cm"/>
      <inkml:brushProperty name="color" value="#FFC000"/>
    </inkml:brush>
  </inkml:definitions>
  <inkml:trace contextRef="#ctx0" brushRef="#br0">741 10019 0,'0'0'0,"0"18"63,0-18-63,0 0 15,17 0-15,36 0 16,0 17-16,18-17 16,-18 0-16,17 18 15,-17-18-15,18 0 16,17 17-16,-35-17 15,17 0-15,1 0 16,35 0-16,-18 0 16,18 0-16,-36 0 15,36 0-15,-18 0 16,36 0-16,-18 0 15,-36 0 1,1 18-16,-1 0 16,-17-18-16,-17 0 15,17 17-15,-1-17 16,1 0-16,0 18 15,0-18-15,18 0 16,70 18-16,-35-18 16,17 0-16,-17 17 15,18 1-15,-1 0 16,18-1-16,-35 1 15,-18-1-15,-35-17 16,-18 0-16,1 0 16,-1 18-16,0-18 15,0 18-15,18-1 16,0-17-16,18 36 15,-18-1-15,35 0 16,-18-17-16,36 17 16,0 0-16,-18 1 15,-17-1-15,17 0 16,0 1-1,-35-19-15,0 18 16,18 1-16,-36-19 16,18 19-16,17-1 15,-17 0-15,18 0 16,-18 1-16,-18-19 15,18 19-15,-18-19 16,1 1-16,16 17 16,19-17-16,17 35 15,18-18-15,-35 0 16,34 1-16,-34-19 15,17 19-15,-35-19 16,35-17-16,-35 35 16,0-17-16,18 17 15,-36-35-15,18 18 16,0 0-16,0-1 15,17 1-15,-17-18 16,0 18-16,0-1 16,0 18-16,0-35 15,-18 18-15,-17 0 16,35-1-1,-18-17-15,0 36 16,18-19-16,18 1 16,-18 17-16,0 1 15,35-19-15,-18 1 16,19 17-16,-37-17 15,1-1-15,18 19 16,-18-36-16,-18 17 16,53 19-16,-17-1 15,17 0-15,18 0 16,0 18-16,70 0 15,-52-18-15,-19 1 16,-34-1-16,0-17 16,-36-1-16,0 1 15,0 0-15,36-1 16,-18 19-16,35-1 15,-17-18-15,34 1 16,1 0-16,-18-1 16,18 1-16,-18-18 15,-17 18-15,-18-1 16,0 1-1,35 0-15,-17-18 16,-18 17-16,-1-17 16,19 0-16,17 0 15,-17 18-15,-1-18 16,54 17-16,-36 1 15,18 0-15,-36-18 16,1 17-16,35-17 16,-36 18-16,36-18 15,-35 0-15,-1 18 16,18-18-16,-17 0 15,-18 17-15,0-17 16,35 18-16,-17-18 16,-1 18-16,18-1 15,-17 1-15,-1-18 16,19 0-16,-1 17 15,18-17-15,-1 0 16,-34 18-16,35-18 16,-18 18-16,18-18 15,0 17-15,-18 1 16,0 0-1,-17-18-15,17 17 16,0 1-16,0 0 16,-17-1-16,-18 1 15,35 0-15,-18-1 16,19 1-16,-19-18 15,36 0-15,18 17 16,-1 1-16,-17 0 16,-36-1-16,-17-17 15,18 18-15,-1 0 16,-17-1-16,0-17 15,18 18-15,-1-18 16,19 0-16,-37 0 16,19 18-16,0-18 15,17 17-15,0-17 16,0 18-16,-17-1 15,-1-17-15,18 18 16,-17-18-16,0 18 16,17-1-16,-18-17 15,1 0-15,17 18 16,-17-18-1,-1 0-15,-17 0 16,18 0-16,-18 18 16,0-18-16,17 17 15,1 1-15,17-18 16,-18 18-16,1-1 15,70 1-15,-53-18 16,18 0-16,-35 17 16,17-17-16,-18 0 15,1 0-15,-1 18 16,19-18-16,-19 18 15,18-1-15,-17-17 16,35 18-16,-36-18 16,1 0-16,-1 18 15,19-18-15,-19 17 16,36 1-16,-35-18 15,34 0-15,-16 18 16,34-18-16,1 0 16,-1 17-16,-17-17 15,-18 0-15,18 0 16,-36 18-1,1-18-15,17 18 16,-35-18-16,0 0 16,0 0-16,18 17 15,-19-17-15,19 0 16,-18 18-16,-18-18 15,0 0-15,1 0 16,-1 17-16,18-17 16,-18 0-16,1 0 15,-1 0-15,0 0 16,18 18-16,0 0 15,0-18-15,17 17 16,19 1-16,-37 0 16,19-18-16,-18 0 15,0 0-15,17 0 16,19 17-16,-19-17 15,18 18-15,-17 0 16,-18-1-16,17-17 16,19 18-16,-19-1 15,18-17-15,-35 0 16,0 18-1,0-18-15,18 18 16,-1-18-16,-17 0 16,18 17-16,-18-17 15,0 18-15,-1-18 16,-16 0-16,-1 0 15,0 0-15,18 0 16,-35 0-16,-1 0 16,19 0-16,-19 0 15,1 0-15,0 0 16,17 0-16,-17 0 15,17 0-15,0 0 16,36 0-16,-18 0 16,-18 0-16,0 0 15,0 0-15,1 0 16,17 0-16,-18 0 15,0 0-15,0 0 16,1 0-16,-1 0 16,0 0-16,-17 0 15,17 0-15,0 0 16,-17 0-1,0 0-15,-1 0 16,1 0-16,0 0 16,17 0-16,-17 0 15,-1 0-15,19 0 16,-1 0-16,0 0 15,0 0-15,-17 0 16,17 0-16,-17 0 16,0 0-16,17 0 15,-18 0-15,1 0 16,17 0-16,-17 0 15,0 0-15,17 0 16,-35 0-16,18 0 16,-18 0 15,17 0-31,-17 0 15,18 0-15,-1 0 16,-17 0 46,18 0-46,-18 0-16,35 0 16,-35 0-16,18 18 15,-18-18-15,18 0 16,-1 0-1,-17 0 1,18 0-16,-18 0 16,35 0-16,1 0 15,-1 17-15,-18-17 16,19 0-16,-36 0 15,17 0 1,-17 18-16,18-18 16,-18 0-16,18 0 15,-1 0-15,19 0 16,-36 0-16,17 0 15,1 0 63,-1 0-78,-17 0 16,18 0-16,17 0 16,-35 0-16,18 0 15,0 0 63</inkml:trace>
  <inkml:trace contextRef="#ctx0" brushRef="#br1" timeOffset="10833.083">5362 10724 0,'0'0'78,"0"0"-62,0-17-16,18 17 15,0 0-15,34 0 16,-16 0-16,17 0 15,-18 0-15,0 0 16,0 0-16,1 0 16,-19 0-16,19 0 15,-1 0-15,0 0 16,-17 0-16,-1 0 15,19 0-15,-19 0 16,1 0 46,0 0-62,-18 0 16,35 0-16,0 0 16,1 0-16,-1 0 15,0 0 1,18 0-16,-18 0 15,1 0-15,-1 0 16,0 0-16,18 0 16,-18 0-16,-17 0 15,17 0-15,0 0 16,-17 0-16,0 0 15,-1 0 48,1 0-48,0 0-15,-18 0 16,17 0-16,19-18 16,-19 18-16,1 0 15,35-17-15,-36 17 16,1-18-16,17 18 15,-17 0-15,0-18 16,-18 18-16,17 0 16,-17 0-16,18 0 15,0 0 1,-18 0-16,17 0 15,-17 0 1,18-17 0,-1 17-16,1 0 15,0 0-15,-1 0 16,1 0-16,0 0 62,-18 0-62,17 0 16,-17 0-16,36 0 15,-19 0-15,1 0 16,-1 0-16,1 0 16,0 0-16,-18 0 15,17 0-15,1 0 16,0 0-16,-1 0 15,1 0-15,0 0 16,-1 0-16,1 0 16,17 0-16,-35 0 15,18 0 1,-18 0-16,17 0 15,1 0 1,-18 0 0,18 0-16,-1 0 15,1 0-15,0 0 16,-1 17-16,1-17 15,-18 0-15,18 0 16,-1 0-16,-17 0 16,18 0-16,-1 0 15,19 0-15,-1 0 16,0 0-16,18 0 15,-18 0-15,-17 0 16,17 0-16,1 0 16,-19 0-16,19 0 15,-1 0-15,18 0 16,-18 0-16,-17 0 15,17 18-15,0-18 16,36 18-16,-36-18 16,0 0-16,1 0 15,-1 0 1,0 0-16,-17 0 15,-1 0-15,19 0 16,-36 0-16,17 0 16,1 17-16,0-17 15,-18 0-15,17 0 16,-17 0-16,18 0 15,0 0-15,-18 0 16,17 0-16,1 18 16,0-18-16,-1 17 15,1 1-15,-1-18 16,1 18-16,0-18 15,-18 17-15,17-17 16,1 0 15,-18 0-15,18 0-16,-18 0 15,35 0-15,-17 0 16,17 0-16,18 0 16,-18-17-16,18 17 15,-35 0 1,-1 0-16,18-18 15,-17 18-15,0 0 16,-18 0-16,17 0 16,-17 0-16,36 0 15,-19 0-15,1 0 16,17 0-16,18 0 15,-35 0-15,-1 0 16,1 0-16,17 0 16,-17 0-16,0 0 15,17 0-15,-17 0 16,-1 0-16,18 0 15,-17 0-15,0 0 16,17 0-16,0 0 16,-17 0-16,0 0 15,17 0-15,-35 0 16,17 0-16,1 0 15,0 0-15,17 0 16,0 0-16,1 0 16,17 0-16,-18 0 15,18 0 1,-18 0-16,-17 0 15,17 0-15,-17 0 16,-18 18-16,17-18 16,1 0-16,-18 0 15,17 17-15,36-17 16,-35 0-16,0 18 15,17-18-15,-35 0 16,18 0 15,-18 0-15,17 18-16,1-18 15,17 0-15,18 0 16,-18 0-16,1 17 16,-1-17-16,0 0 15,-17 0-15,-1 0 16,19 0-16,17 0 15,-18 0-15,18 0 16,0 0-16,0 0 16,0 0-16,-1-17 15,37-1 1,-36 0-16,-18 1 15,0 17-15,0 0 16,-17 0-16,0 0 16,-1 0-1,1 0 1,-18 0-1,18 0 1,-18 0-16,17 0 16,1 0-16,0 0 15,17 0-15,-18 0 16,1 0-16,17 0 15,-17 0-15,17 0 16,1 0-16,16 0 16,1-18-16,0 0 15,0 1-15,35-18 16,-35 35-16,0-36 15,0 19-15,0-1 16,-18 18-16,-17 0 16,17 0-16,-17 0 15,17 0 1,0 0-16,1 0 15,17 0-15,-18 0 16,0 0-16,1 0 16,-1 0-16,0 0 15,0 0-15,-17 0 16,17 0-16,1 0 15,-1 18-15,0-18 16,0 0-16,1 0 16,-19 0-16,1 0 15,17 0-15,-17 0 16,-1 17-16,-17-17 15,18 0-15,17 18 16,-35-18-16,36 0 16,-19 0-16,19 18 15,-1-18-15,18 0 16,-18 0-16,0 0 15,1 0-15,-1 0 16,0 0-16,0 0 16,1 0-16,-1 17 15,18-17 1,-18 0-16,18 18 15,-18-18-15,18 0 16,0 0-16,0 17 16,0-17-16,0 18 15,-18-18-15,1 0 16,-1 0-16,18 0 15,0 18-15,35-18 16,-18 0-16,1 0 16,17 0-16,-17 0 15,-18-18-15,0 0 16,17 18-16,-17 0 15,18 0-15,-19 0 16,1 0-16,0 0 16,0 0-16,-35 0 15,17 0-15,0 0 16,-17 0-16,0 0 15,17 0-15,18 0 16,-18 0-16,0 0 16,1 18-16,17 0 15,0-18 1,-1 0-16,-16 0 15,-1 17-15,0 1 16,1-18-16,-1 0 16,0 18-16,0-18 15,18 0-15,18 0 16,-1 0-16,-17 0 15,0 0-15,18 0 16,-18 0-16,-18 0 16,36-18-16,-18-17 15,-1 17-15,1-17 16,-17 17-16,-1-17 15,18 17-15,-18-17 16,18 0-16,-18 17 16,18 0-16,-35 1 15,17 17-15,18-18 16,-18 18-16,-17 0 15,17 0-15,1 0 16,16 0-16,-16 0 16,-1 0-16,0 0 15,1 0-15,-1 0 16,0 0-16,0 0 15,1 18 1,17-18-16,-1 0 16,1 17-16,-17 1 15,17-18-15,0 0 16,-18 0-16,18 18 15,-18-18-15,0 17 16,1-17-16,16 0 16,1 0-16,-17 18 15,-1-18-15,0 0 16,0 0-16,18 0 15,-17 0-15,17 0 16,0 0-16,-1 0 16,1 0-16,0 0 15,0 0-15,0 0 16,0 0-16,0 0 15,0 0-15,35 0 16,-35 0-16,18 0 16,-1 0-16,18 0 15,0 0 1,1 0-16,16 0 15,-34 0-15,53 0 16,-36 0-16,0 0 16,-18 0-16,1 0 15,-18 0-15,0 0 16,35 0-16,-17 0 15,-1 0-15,1 0 16,35 0-16,-18 0 16,18 0-16,35 18 15,-18-18-15,1 0 16,-19 0-16,-16 0 15,34 0-15,-17 0 16,-35 0-16,34 17 16,-16-17-16,34 18 15,0 0-15,-17-1 16,-35-17-16,17 18 15,-17-1-15,-18 1 16,-1-18-16,1 18 16,0-1-16,0-17 15,0 0-15,0 18 16,0-18-1,0 18-15,0-18 16,0 0-16,0 0 16,-18 0-16,0 0 15,-17 0-15,-1 0 16,-17 0-16,18 0 15,0 0 1,-1 0-16,1 0 16,17 17-16,18-17 15,-35 0-15,-1 0 16,1 0-16,0 0 15,-1 0-15,36 18 16,0-18-16,35 18 16,1-18-16,16 0 15,1 0-15,-35 0 16,-18 0-16,-18 0 15,0 0-15,1 0 16,-1 0-16,0 0 16,0 0-16,-17 0 15,17 0-15,-17 0 16,0-18-16,17 18 15,-35 0 1,18 0 31,-1 0-47,1 0 15,17 0-15,18 0 16,0 0-16,0 0 16,-36 0-16,19 0 15,-36 0 16,17 0-15,1 18-16,0-18 16,-1 17-16,1-17 15,17 0-15,1 0 63,-36 0-63,17 0 15,1 0-15,-1 0 16,1 0-1</inkml:trace>
  <inkml:trace contextRef="#ctx0" brushRef="#br2" timeOffset="20433.043">2699 10054 0,'-18'0'31,"18"0"-16,0 0-15,18 0 16,35 0-16,17 0 16,-17 0-16,0 0 15,0 0-15,-18 0 16,1 0-16,-19 0 15,18 0-15,-35 0 94,0 0-78,-35 0-16,0 0 15,0 0-15,17 0 16,-17 0-1,17 0-15,0 0 16,1 0 62,17 0-78,0 0 16,17 0-16,1 0 15,35-17-15,0 17 16,0 0-16,0 0 15,-18 0-15,-35-18 16,0 18 31,0 0-32,-18 0-15,1 0 16,-19 0-16,19 0 16,-1 0-16,-17 0 15,35-18 94,18 18-93,-1 0-16,1 0 16,-1 0-16,-17 0 46,0 0-30,-52 0-16,16 0 16,1 0-16,0 0 15,-1 0-15,1 0 16,35 0 31,0 0-32,18 0-15,17 0 16,0 0-1,1 0-15,-1 0 16,18 0-16,-18 0 16,-17 0-16,-1-17 15,1 17 32,-18 0-47,0 0 16,-18 0-16,1 0 15,-1 0-15,-17 0 16,-18 0-16,35 0 16,1 0-16,-1 0 15,18 0-15,-35 0 16,17 0-16,18 0 62,0 0-62,18 0 16,-18 0-16,0 0 62,0 0-62,0 0 16,-36 0-16,19 0 15,17 0-15,-18 0 16,1 0-16,-1 0 16,0 0-16,1 0 15,17 0 110,-18 0-109,0 0-16,-17 0 15,-18 0-15,35 17 16,1-17 31,17 0-32,17 0-15,-17 0 16,18 0-16,17 0 15,-17 0-15,0 0 16,17 0-16,-17 0 16,-1 0-16,19 0 15,-19 0-15,1 0 16,-18 0-16,17 0 15,-17 0-15,18 0 16,-18 0-16,0 0 94,0 0-94,0 0 15,-18 0-15,1 0 16,-1 0-16,18 0 93,0 0-93,35 0 16,-17 0-16,0 0 16,-1 0 77,-17 0-77,0 0-1,-35-17-15,17 17 16,1 0-16,-1 0 16,18-18 62,18 18-63,17 0-15,18 0 16,0-18-16,-18 1 15,0-1-15,1 18 16,-36 0-16,0 0 62,0 0-62,-18 0 16,-17 0-16,-18 0 16,18 0-16,17 0 15,0 0-15,-17 0 16,35 0-16,0-18 140,0 18-140,0 0 63,0 0-63,-18 0 15,1 0-15,-1 0 16,18 0-16,0 0 109,0 0-109,35-17 16,-35 17-16,18 0 15,0 0-15,-18 0 16,17 0-16,-17 0 78,0 0-63,-35 0-15,-18 0 16,0 0-16,0 0 16,18 0-16,17 0 15,1 0 32,17 0-31,0 0-16,35 0 15,0 0-15,18 0 16,18 0-16,-1 0 15,-17 0-15,-17 0 16,-1 0-16,-35 0 94,0 0-94,0 0 15,-18 0-15,1 0 16,-36 0-16,17 0 15,19 0-15,-1 0 78,18 0-62,0 0 0,0 0-1,18 0-15,-1 0 16,-17 0-16,18 0 15,-18 0-15,0-18 94,0 18-78,0 0-1,0-17-15,-18 17 16,1 0-16,-1 0 15,18 0 32,0 0-31,0-18-16,0 18 15,18 0-15,-1 0 16,-17 0-16,18-18 16,-18 18-16,0-17 15,0 17 126,0 0-126,0 0-15,-18 0 16,1 0-16,-1 0 62,18-18 1</inkml:trace>
  <inkml:trace contextRef="#ctx0" brushRef="#br0" timeOffset="26809.68">2117 8573 0,'0'-18'32,"17"18"-17,-17 0 1,18 0-16,-18 0 15,18 0 1,-1 0 31,-17 0-32,18 0-15,-18 0 16,17 0-16,1 0 16,-18 18-16,18-18 15,-18 0-15,0 0 16,0 17 15,0 1-15,17-18-1,-17 17-15,18-17 16,0 18-1,-18 0-15,0-18 16,17 0-16,-17 17 16,0-17-16,0 0 15,0 18 16,0-18-15,0 18 0,0-1-16,0-17 15,0 18-15,18-18 16,-18 18-1,0-18 1,0 17 0,0 1-1,0-18-15,0 17 16,0-17-16,0 18 15,0 0 1,0-18-16,0 17 16,0-17-16,0 36 15,0-36-15,0 17 16,0-17-16,-18 18 15,18-18-15,0 18 16,-17-1-16,-1-17 16,18 18-16,-18-18 15,18 0 1,0 17-16,-17 1 15,17-18-15,-18 0 16,0 18-16,18-18 16,0 0-16,-17 0 15,17 17-15,-18-17 16,1 0-16,17 0 15,-18 0-15,0 0 16,18 0-16,-17 0 16,-1 0-16,18 0 15,-18 0-15,18 0 16,-17 0-1,-1 0-15,18 0 16,-18 0-16,18 0 16,-35 0-16,35 0 15,-17 0-15,-19 0 16,19 0-16,-1 0 15,18 0 1,-18 0 31,18 0-47,-17 0 15,17 0-15,-18-17 16,0 17-16,1-18 16,-1 0-16,18 18 15,-17-17-15,17 17 16,-18-18-16,18 1 15,0 17 1,0-18 0,0 18-16,0-18 15,0 1-15,0-1 16,0 0-16,0 1 15,0-19-15,0 19 16,0 17-16,0-35 16,0 35-16,0-36 15,0 36-15,0-17 16,0 17-16,0-18 15,18 18-15,-18-18 16,17 1-16,1 17 16,-18 0-16,17 0 15,-17-18 1,18 18 77,0 0-93,-18-18 16,17 18-16,1-17 16,0 17-16,-18 0 15,17 0-15,-17 0 16,36 0-16,-36-18 15,17 18-15</inkml:trace>
  <inkml:trace contextRef="#ctx0" brushRef="#br0" timeOffset="29296.929">1993 9084 0,'-17'0'15,"17"18"1,0-18-16,0 17 16,0-17-16,-18 18 15,18 0 1,0-18-16,0 17 15,0-17-15,-18 36 16,1-19-16,17 1 16,0-1-16,-18 1 15,18 0-15,-18 17 16,1-17-16,17 17 15,-18-35-15,18 18 16,0-1-16,0-17 16,-18 18-16,18-18 15,0 17 1,0-17-16,0 18 15,0 0-15,0-18 32,0 17-32,-17-17 15,17 0-15,0 18 16,0 0-16,0-18 15,-18 0-15,18 17 16,0-17 140,0 0-140,18 0-16,35 0 15,-18 0-15,0 0 16,-17 18-16,17-18 15,-17 0-15,-1 0 16,-17 0-16,18 0 16,-18 0 186,18 0-155,-1 0 0,-17 18-31,18-18-16,-18 0 15,18 0-15,-18 0 94,17 0-94,1 0 15,-18 0-15,18 0 78,-18 0-31,17 0-47,1 0 16,-18 0-16,17 0 15,1 0-15,0 0 16,-18 0-16,17 17 156,-17-17-140,0 18-16,0-1 15,0-17 1,0 18-16,0-18 15,0 18-15,0-1 16,0-17-16,0 18 16,0-18-16,0 18 15,0-18-15,0 17 16,0 1-16,0 0 15,0-18-15,0 35 16,0-35-16,0 35 16,0-35-16,0 18 62,0-18-15,0 17-32,0-17 1,0 18 0,0 0-1,0-18 1,0 17-16,0-17 47,0 18-16,0 0-31,0-18 31,0 17 16,0-17-32</inkml:trace>
  <inkml:trace contextRef="#ctx0" brushRef="#br0" timeOffset="31121.108">1817 9613 0,'0'0'47,"0"0"-32,0 0-15,0 0 16,0 18-1,0-18-15,0 17 16,-18 1-16,18-18 16,0 18-16,0-18 15,0 17-15,-17-17 16,17 18-16,0-18 125,17 0-110,1 0-15,-18 0 16,35 0-16,-17 0 15,-1 0-15,-17 0 16,18 0-16,0 0 16,-1 0-16,1 0 15,-18 0-15,18 0 78,-1 0-78,-17 0 47,18 0-31,-18 0-1,17 0-15,1 0 16,-18 0-16,18 18 171,-18-18-124,0 17-31,0-17-1,0 18 1,0 0 0,0-18-16,0 17 15,0-17-15,0 18 16,0-18-16,0 18 15,0-1-15,0-17 16,0 18-16,0-18 16,0 17-1,0 1 1,0-18-16,-18 18 15</inkml:trace>
  <inkml:trace contextRef="#ctx0" brushRef="#br0" timeOffset="32121.211">1976 9208 0,'17'0'78,"-17"17"-78,18-17 15,-1 18-15,1-1 16,17 19-16,18-19 16,0 36-16,0-17 15,35 16-15,-35-34 16,0 17-16,-18-35 15,-17 18-15,0-18 16,-1 18-16</inkml:trace>
  <inkml:trace contextRef="#ctx0" brushRef="#br0" timeOffset="33241.322">1887 9402 0,'0'0'47,"0"0"-47,18 0 15,-18 0-15,18 0 16,-18 17-16,17-17 15,1 18-15,0-1 16,-18-17-16,0 0 16,17 0-1,1 0 16,-18 18-31,17-18 16,-17 0-16,18 0 16,-18 0 15,18 0-16,-1 0-15,-17 18 16,18-18 62,-18 0-62</inkml:trace>
  <inkml:trace contextRef="#ctx0" brushRef="#br0" timeOffset="40386.038">7461 9313 0,'0'0'46,"0"0"-30,0-17 0,18 17-16,-18 0 15,18 0 1,-18 0-1,0-18-15,17 18 16,-17 0 0,18 0-1,-1 0 1,-17 0-16,18 0 15,-18 0-15,18 0 16,-1 0-16,1 0 16,0 0-16,-1 0 15,-17 0 1,18 0-16,-18 0 15,35 0-15,-17 0 16,-1 0-16,-17 0 16,18 0-16,-18 0 15,18 0 32,-18 0-31,17 0-16,1 0 15,0 0-15,-18 0 16,17 0-16,1 0 15,-18 0-15,0 0 16,18 18 0,-18-18-16,0 0 15,17 17-15,-17-17 16,18 0-16,-18 18 15,0-18-15,0 18 16,18-1-16,-18-17 16,0 18-16,17 17 15,-17-35-15,0 35 16,18-35-16,-18 18 15,0 17-15,0-17 16,0 17-16,0-35 16,0 18-16,0 17 15,0-35-15,0 18 16,0 17-16,0-35 15,0 18-15,0-1 16,0-17-16,0 18 16,0-18-16,0 18 15,0-18-15,0 17 16,0 1-16,0 0 15,0-18-15,0 35 16,-18-35 0,1 18-16,17-1 15,0 1-15,-18-18 16,0 35-16,18-35 15,0 18-15,-17-18 16,17 17-16,-18 1 16,18-18-16,-35 18 15,17-18-15,0 17 16,1-17-16,-1 0 15,0 0-15,1 18 16,-1-18-16,-17 0 16,17 0-16,1 0 15,-36 0-15,35 0 16,0 0-16,18 0 15,-17 0-15,17 0 16,-35 0-16,35 0 16,-18 0-16,-17-18 15,-1 18-15,1-35 16,-18 17-16,18-17 15,17 17-15,-17 1 16,17-1 0,18-17-16,0 35 15,0-18-15,0 1 16,0-1-16,0 0 15,0 1-15,0-1 16,0 0-16,0 1 16,0 17-16,0-18 15,0 18 1,0-18-1,0 1-15,0 17 16,0-18-16,0 18 16,18 0-16,-18-17 15,18 17-15,-18 0 16,17-18-1,1 18 1,-18-18 0,0 18-16,0 0 15,18 0-15,-18-17 16,0 17-16,17 0 15,-17 0-15,0-18 16,0 0 15,18 18-15,-18 0-16,17 0 15,-17-17-15,0 17 16,0 0 140,0-18-156,0 18 31,0-18-15,18 18-1,-18-17 17,0 17-1,0-18 0</inkml:trace>
  <inkml:trace contextRef="#ctx0" brushRef="#br0" timeOffset="41578.157">7638 10072 0,'0'17'62,"0"1"-62,0-18 16,0 18-16,0-18 15,0 17 1,0 1-16,0 0 15,0-1-15,0 1 16,0 35-16,0-18 16,0 0-16,17-17 15,-17 35-15,18-18 16,-18-17-16,0 17 15,0 0-15,18-17 16,-18 17-16,0 1 16,0-19-16,0 1 15,0 17-15,0-35 16,0 18 77</inkml:trace>
  <inkml:trace contextRef="#ctx0" brushRef="#br0" timeOffset="42610.259">7549 10336 0,'0'0'47,"-17"0"-47,17 0 16,-35 0-16,17 0 15,-17-17-15,-1-1 16,-34 0-16,-1 1 15,-17-1-15,17 1 16,-17-19-16,35 19 16,0-1-16,18 18 15,18 0 1</inkml:trace>
  <inkml:trace contextRef="#ctx0" brushRef="#br0" timeOffset="43418.341">7761 10301 0,'0'0'63,"0"0"-63,0 0 15,18 0-15,-1-18 16,1 18-16,17-17 16,1-1-16,-1 1 15,18 17-15,-18 0 16,0-18-16,-17 0 15,17 18-15</inkml:trace>
  <inkml:trace contextRef="#ctx0" brushRef="#br0" timeOffset="44514.451">7638 10795 0,'0'0'15,"0"0"1,-18 0-16,18 18 16,0-18-16,0 17 15,-18 1-15,18 0 16,-17-1-16,17 18 15,0 18-15,0-17 16,-18-1-16,0 0 16,1 18-16,17-18 15,-18 1-15,1-19 16,-1 36-16,18-35 15,0 0-15,-18 17 16,18-35-16,-17 17 16,17 1-1,0-18 94,0 18-93</inkml:trace>
  <inkml:trace contextRef="#ctx0" brushRef="#br0" timeOffset="45417.541">7691 10795 0,'0'0'47,"0"18"-47,0-18 16,17 17-16,-17 36 15,18-18-15,-18 1 16,17 17-16,-17 0 16,18 17-16,-18 1 15,18-1-15,-18-17 16,0 0-16,0 0 15,0 0-15,0-35 16,0-1-16,17 1 172</inkml:trace>
  <inkml:trace contextRef="#ctx0" brushRef="#br0" timeOffset="50978.096">16880 9984 0,'-17'0'15,"17"0"1,-18 0-16,1 0 16,17 0-16,0 17 15,-18-17-15,18 0 16,0 0-16,-18 0 15,1 0-15,17 18 16,-18-18-16,-17 0 16,-18 18-16,17-1 15,1 1-15,0-18 16,17 17-16,-17 1 16,35-18-16,-18 18 15,1-1-15,-1-17 16,18 18-16,-18-18 15,18 18-15,0-1 16,0-17-16,0 18 16,0-18-16,0 18 15,0-18-15,-17 35 16,17-35-1,0 35-15,0-17 16,0-1-16,0 1 16,0 0-16,0-1 15,0-17-15,0 18 16,0-18-16,0 18 15,0-18-15,0 17 16,0 1-16,0 0 16,0-18-16,0 35 15,0-35-15,0 17 16,0-17-16,0 18 15,0 0-15,0-18 32,0 0-17,17 0 1,-17 17-1,0-17-15,18 0 16,-18 0-16,18 18 16,-1 0-16,-17-18 15,36 0-15,-19 17 16,1 1-1,17-18-15,-17 18 16,17-1-16,-35-17 16,18 0-16,-1 0 15,1 0-15,17 0 16,-35 0-16,18 0 15,-18 0-15,18 0 16,-1 0-16,-17 0 16,18 0-1,-18 0-15,18 18 16,-18-18-16,35 0 15,-18 0-15,1 0 16,-18 0-16,18 0 62,-18 0-62,35 0 16,-35 0-16,18 0 16,17-18-16,-17 1 15,-1 17-15,-17-18 16,18 18-1,-1-18-15,-17 1 16,0-1-16,18 0 16,0-35-16,-18 36 15,0-1-15,0 1 16,0-1-16,0 0 15,0-17-15,0 35 16,0-18-16,0 1 16,0-1-16,0 18 15,0-18-15,0-17 16,0 35-16,0-18 15,0 18 17,0-17-17,0 17 1,-18-18-1,0 18-15,18 0 16,0 0-16,-17-17 16,17 17-16,0-18 15,-18 18-15,18-18 16,0 18-1,-17 0 1,17-17-16,0 17 16,0 0-16,-18-18 15,18 18-15,0 0 16,0-18-16,-18 1 15,18 17 17,-17-18 124,-1 18-78,18 0-78,-18 0 15,18 0-15,0-18 16,-17 18-16,-1 0 15,18 0 95,-18 0-95,18 0 1,-17 0 280,17 0-218,-18 0-78,1 0 16,17 0-1</inkml:trace>
  <inkml:trace contextRef="#ctx0" brushRef="#br0" timeOffset="52338.232">17163 10460 0,'0'0'109,"0"0"-109,35 0 15,0 0-15,0 0 16,1 0-16,34 0 16,-17 0-16,18 18 15,17-1-15,-17 1 16,34-1-16,-34-17 15,-36 0-15,0 18 16,1-18-16,-36 0 47,17 0-47,1 0 15,0 0-15,-18 0 16,35 0-16,-35 0 109,18 0-109,17 18 16,-17-18-16,17 17 15,0 1-15</inkml:trace>
  <inkml:trace contextRef="#ctx0" brushRef="#br0" timeOffset="54050.404">17551 10495 0,'0'-17'109,"0"-1"-78,0 18-15,0-18-1,0 18 1,0-17 0,-18 17-16,18-18 15,0 0-15,-18 18 16,18 0-16,0-17 15,0 17-15,0-18 16,0 0-16,-17 18 16,17 0-16,0-17 15,0 17 1,-18 0 93,18 0-93,0 0-16,-17 0 15,-1 0-15,18 0 16,-18 0-16,1-18 15,-1 18-15,0 0 16,1-18-16,-1 18 16,18 0-16,-18 0 15,1 0 1,17 0-1,-18 0-15,-17 0 16,35 0-16,-18 0 78,1 0-62,17 0-1</inkml:trace>
  <inkml:trace contextRef="#ctx0" brushRef="#br0" timeOffset="55074.506">17639 10619 0,'0'0'47,"0"17"-31,0-17-16,35 0 15,0 36-15,1-1 16,17-35-16,-18 35 16,0-17-16,0-1 15,1 1-15,-19-18 16,19 18-1,-36-1-15,17-17 94,-17 0-94,18 0 16</inkml:trace>
  <inkml:trace contextRef="#ctx0" brushRef="#br0" timeOffset="55994.598">18115 10672 0,'18'0'15,"-18"-18"-15,0 18 47,17 0-31,-17-18-16,18 18 15,0-17-15,17 17 16,-17-18-16,17 0 16,18-17-16,-18 0 15,0 17-15,18-17 16,-17 17-16,-1 1 15,0-1-15,-17 18 16,-1 0-16</inkml:trace>
  <inkml:trace contextRef="#ctx0" brushRef="#br0" timeOffset="56914.689">18098 10636 0,'17'0'0,"1"0"47,-18 0-47,35 18 15,0-18-15,18 0 16,0 18-16,-18-18 16,1 17-16,-19-17 15,36 0-15,-17 18 16,16-1-16,1 19 15,18-36-15,-18 35 16,0-17-16,35 17 16,-53-35-16,1 18 15</inkml:trace>
  <inkml:trace contextRef="#ctx0" brushRef="#br0" timeOffset="58442.843">18556 10389 0,'0'0'109,"0"0"-109,0 0 15,18 0-15,-18-17 16,17-1-16,1 18 16,-18 0-16,0-18 15,18 18-15,-18-17 16,17 17-16,-17 0 47,18 0-32,-18-18 1,0 18-16,18-18 15,-18 18-15,17-17 16,-17 17 0,0 0-16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8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48.44904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9-09-05T12:13:02.931"/>
    </inkml:context>
    <inkml:brush xml:id="br0">
      <inkml:brushProperty name="width" value="0.05292" units="cm"/>
      <inkml:brushProperty name="height" value="0.05292" units="cm"/>
    </inkml:brush>
    <inkml:brush xml:id="br1">
      <inkml:brushProperty name="width" value="0.05292" units="cm"/>
      <inkml:brushProperty name="height" value="0.05292" units="cm"/>
      <inkml:brushProperty name="color" value="#0070C0"/>
    </inkml:brush>
    <inkml:brush xml:id="br2">
      <inkml:brushProperty name="width" value="0.05292" units="cm"/>
      <inkml:brushProperty name="height" value="0.05292" units="cm"/>
      <inkml:brushProperty name="color" value="#FFC000"/>
    </inkml:brush>
  </inkml:definitions>
  <inkml:trace contextRef="#ctx0" brushRef="#br0">741 10019 0,'0'0'0,"0"18"63,0-18-63,0 0 15,17 0-15,36 0 16,0 17-16,18-17 16,-18 0-16,17 18 15,-17-18-15,18 0 16,17 17-16,-35-17 15,17 0-15,1 0 16,35 0-16,-18 0 16,18 0-16,-36 0 15,36 0-15,-18 0 16,36 0-16,-18 0 15,-36 0 1,1 18-16,-1 0 16,-17-18-16,-17 0 15,17 17-15,-1-17 16,1 0-16,0 18 15,0-18-15,18 0 16,70 18-16,-35-18 16,17 0-16,-17 17 15,18 1-15,-1 0 16,18-1-16,-35 1 15,-18-1-15,-35-17 16,-18 0-16,1 0 16,-1 18-16,0-18 15,0 18-15,18-1 16,0-17-16,18 36 15,-18-1-15,35 0 16,-18-17-16,36 17 16,0 0-16,-18 1 15,-17-1-15,17 0 16,0 1-1,-35-19-15,0 18 16,18 1-16,-36-19 16,18 19-16,17-1 15,-17 0-15,18 0 16,-18 1-16,-18-19 15,18 19-15,-18-19 16,1 1-16,16 17 16,19-17-16,17 35 15,18-18-15,-35 0 16,34 1-16,-34-19 15,17 19-15,-35-19 16,35-17-16,-35 35 16,0-17-16,18 17 15,-36-35-15,18 18 16,0 0-16,0-1 15,17 1-15,-17-18 16,0 18-16,0-1 16,0 18-16,0-35 15,-18 18-15,-17 0 16,35-1-1,-18-17-15,0 36 16,18-19-16,18 1 16,-18 17-16,0 1 15,35-19-15,-18 1 16,19 17-16,-37-17 15,1-1-15,18 19 16,-18-36-16,-18 17 16,53 19-16,-17-1 15,17 0-15,18 0 16,0 18-16,70 0 15,-52-18-15,-19 1 16,-34-1-16,0-17 16,-36-1-16,0 1 15,0 0-15,36-1 16,-18 19-16,35-1 15,-17-18-15,34 1 16,1 0-16,-18-1 16,18 1-16,-18-18 15,-17 18-15,-18-1 16,0 1-1,35 0-15,-17-18 16,-18 17-16,-1-17 16,19 0-16,17 0 15,-17 18-15,-1-18 16,54 17-16,-36 1 15,18 0-15,-36-18 16,1 17-16,35-17 16,-36 18-16,36-18 15,-35 0-15,-1 18 16,18-18-16,-17 0 15,-18 17-15,0-17 16,35 18-16,-17-18 16,-1 18-16,18-1 15,-17 1-15,-1-18 16,19 0-16,-1 17 15,18-17-15,-1 0 16,-34 18-16,35-18 16,-18 18-16,18-18 15,0 17-15,-18 1 16,0 0-1,-17-18-15,17 17 16,0 1-16,0 0 16,-17-1-16,-18 1 15,35 0-15,-18-1 16,19 1-16,-19-18 15,36 0-15,18 17 16,-1 1-16,-17 0 16,-36-1-16,-17-17 15,18 18-15,-1 0 16,-17-1-16,0-17 15,18 18-15,-1-18 16,19 0-16,-37 0 16,19 18-16,0-18 15,17 17-15,0-17 16,0 18-16,-17-1 15,-1-17-15,18 18 16,-17-18-16,0 18 16,17-1-16,-18-17 15,1 0-15,17 18 16,-17-18-1,-1 0-15,-17 0 16,18 0-16,-18 18 16,0-18-16,17 17 15,1 1-15,17-18 16,-18 18-16,1-1 15,70 1-15,-53-18 16,18 0-16,-35 17 16,17-17-16,-18 0 15,1 0-15,-1 18 16,19-18-16,-19 18 15,18-1-15,-17-17 16,35 18-16,-36-18 16,1 0-16,-1 18 15,19-18-15,-19 17 16,36 1-16,-35-18 15,34 0-15,-16 18 16,34-18-16,1 0 16,-1 17-16,-17-17 15,-18 0-15,18 0 16,-36 18-1,1-18-15,17 18 16,-35-18-16,0 0 16,0 0-16,18 17 15,-19-17-15,19 0 16,-18 18-16,-18-18 15,0 0-15,1 0 16,-1 17-16,18-17 16,-18 0-16,1 0 15,-1 0-15,0 0 16,18 18-16,0 0 15,0-18-15,17 17 16,19 1-16,-37 0 16,19-18-16,-18 0 15,0 0-15,17 0 16,19 17-16,-19-17 15,18 18-15,-17 0 16,-18-1-16,17-17 16,19 18-16,-19-1 15,18-17-15,-35 0 16,0 18-1,0-18-15,18 18 16,-1-18-16,-17 0 16,18 17-16,-18-17 15,0 18-15,-1-18 16,-16 0-16,-1 0 15,0 0-15,18 0 16,-35 0-16,-1 0 16,19 0-16,-19 0 15,1 0-15,0 0 16,17 0-16,-17 0 15,17 0-15,0 0 16,36 0-16,-18 0 16,-18 0-16,0 0 15,0 0-15,1 0 16,17 0-16,-18 0 15,0 0-15,0 0 16,1 0-16,-1 0 16,0 0-16,-17 0 15,17 0-15,0 0 16,-17 0-1,0 0-15,-1 0 16,1 0-16,0 0 16,17 0-16,-17 0 15,-1 0-15,19 0 16,-1 0-16,0 0 15,0 0-15,-17 0 16,17 0-16,-17 0 16,0 0-16,17 0 15,-18 0-15,1 0 16,17 0-16,-17 0 15,0 0-15,17 0 16,-35 0-16,18 0 16,-18 0 15,17 0-31,-17 0 15,18 0-15,-1 0 16,-17 0 46,18 0-46,-18 0-16,35 0 16,-35 0-16,18 18 15,-18-18-15,18 0 16,-1 0-1,-17 0 1,18 0-16,-18 0 16,35 0-16,1 0 15,-1 17-15,-18-17 16,19 0-16,-36 0 15,17 0 1,-17 18-16,18-18 16,-18 0-16,18 0 15,-1 0-15,19 0 16,-36 0-16,17 0 15,1 0 63,-1 0-78,-17 0 16,18 0-16,17 0 16,-35 0-16,18 0 15,0 0 63</inkml:trace>
  <inkml:trace contextRef="#ctx0" brushRef="#br1" timeOffset="1">5362 10724 0,'0'0'78,"0"0"-62,0-17-16,18 17 15,0 0-15,34 0 16,-16 0-16,17 0 15,-18 0-15,0 0 16,0 0-16,1 0 16,-19 0-16,19 0 15,-1 0-15,0 0 16,-17 0-16,-1 0 15,19 0-15,-19 0 16,1 0 46,0 0-62,-18 0 16,35 0-16,0 0 16,1 0-16,-1 0 15,0 0 1,18 0-16,-18 0 15,1 0-15,-1 0 16,0 0-16,18 0 16,-18 0-16,-17 0 15,17 0-15,0 0 16,-17 0-16,0 0 15,-1 0 48,1 0-48,0 0-15,-18 0 16,17 0-16,19-18 16,-19 18-16,1 0 15,35-17-15,-36 17 16,1-18-16,17 18 15,-17 0-15,0-18 16,-18 18-16,17 0 16,-17 0-16,18 0 15,0 0 1,-18 0-16,17 0 15,-17 0 1,18-17 0,-1 17-16,1 0 15,0 0-15,-1 0 16,1 0-16,0 0 62,-18 0-62,17 0 16,-17 0-16,36 0 15,-19 0-15,1 0 16,-1 0-16,1 0 16,0 0-16,-18 0 15,17 0-15,1 0 16,0 0-16,-1 0 15,1 0-15,0 0 16,-1 0-16,1 0 16,17 0-16,-35 0 15,18 0 1,-18 0-16,17 0 15,1 0 1,-18 0 0,18 0-16,-1 0 15,1 0-15,0 0 16,-1 17-16,1-17 15,-18 0-15,18 0 16,-1 0-16,-17 0 16,18 0-16,-1 0 15,19 0-15,-1 0 16,0 0-16,18 0 15,-18 0-15,-17 0 16,17 0-16,1 0 16,-19 0-16,19 0 15,-1 0-15,18 0 16,-18 0-16,-17 0 15,17 18-15,0-18 16,36 18-16,-36-18 16,0 0-16,1 0 15,-1 0 1,0 0-16,-17 0 15,-1 0-15,19 0 16,-36 0-16,17 0 16,1 17-16,0-17 15,-18 0-15,17 0 16,-17 0-16,18 0 15,0 0-15,-18 0 16,17 0-16,1 18 16,0-18-16,-1 17 15,1 1-15,-1-18 16,1 18-16,0-18 15,-18 17-15,17-17 16,1 0 15,-18 0-15,18 0-16,-18 0 15,35 0-15,-17 0 16,17 0-16,18 0 16,-18-17-16,18 17 15,-35 0 1,-1 0-16,18-18 15,-17 18-15,0 0 16,-18 0-16,17 0 16,-17 0-16,36 0 15,-19 0-15,1 0 16,17 0-16,18 0 15,-35 0-15,-1 0 16,1 0-16,17 0 16,-17 0-16,0 0 15,17 0-15,-17 0 16,-1 0-16,18 0 15,-17 0-15,0 0 16,17 0-16,0 0 16,-17 0-16,0 0 15,17 0-15,-35 0 16,17 0-16,1 0 15,0 0-15,17 0 16,0 0-16,1 0 16,17 0-16,-18 0 15,18 0 1,-18 0-16,-17 0 15,17 0-15,-17 0 16,-18 18-16,17-18 16,1 0-16,-18 0 15,17 17-15,36-17 16,-35 0-16,0 18 15,17-18-15,-35 0 16,18 0 15,-18 0-15,17 18-16,1-18 15,17 0-15,18 0 16,-18 0-16,1 17 16,-1-17-16,0 0 15,-17 0-15,-1 0 16,19 0-16,17 0 15,-18 0-15,18 0 16,0 0-16,0 0 16,0 0-16,-1-17 15,37-1 1,-36 0-16,-18 1 15,0 17-15,0 0 16,-17 0-16,0 0 16,-1 0-1,1 0 1,-18 0-1,18 0 1,-18 0-16,17 0 16,1 0-16,0 0 15,17 0-15,-18 0 16,1 0-16,17 0 15,-17 0-15,17 0 16,1 0-16,16 0 16,1-18-16,0 0 15,0 1-15,35-18 16,-35 35-16,0-36 15,0 19-15,0-1 16,-18 18-16,-17 0 16,17 0-16,-17 0 15,17 0 1,0 0-16,1 0 15,17 0-15,-18 0 16,0 0-16,1 0 16,-1 0-16,0 0 15,0 0-15,-17 0 16,17 0-16,1 0 15,-1 18-15,0-18 16,0 0-16,1 0 16,-19 0-16,1 0 15,17 0-15,-17 0 16,-1 17-16,-17-17 15,18 0-15,17 18 16,-35-18-16,36 0 16,-19 0-16,19 18 15,-1-18-15,18 0 16,-18 0-16,0 0 15,1 0-15,-1 0 16,0 0-16,0 0 16,1 0-16,-1 17 15,18-17 1,-18 0-16,18 18 15,-18-18-15,18 0 16,0 0-16,0 17 16,0-17-16,0 18 15,-18-18-15,1 0 16,-1 0-16,18 0 15,0 18-15,35-18 16,-18 0-16,1 0 16,17 0-16,-17 0 15,-18-18-15,0 0 16,17 18-16,-17 0 15,18 0-15,-19 0 16,1 0-16,0 0 16,0 0-16,-35 0 15,17 0-15,0 0 16,-17 0-16,0 0 15,17 0-15,18 0 16,-18 0-16,0 0 16,1 18-16,17 0 15,0-18 1,-1 0-16,-16 0 15,-1 17-15,0 1 16,1-18-16,-1 0 16,0 18-16,0-18 15,18 0-15,18 0 16,-1 0-16,-17 0 15,0 0-15,18 0 16,-18 0-16,-18 0 16,36-18-16,-18-17 15,-1 17-15,1-17 16,-17 17-16,-1-17 15,18 17-15,-18-17 16,18 0-16,-18 17 16,18 0-16,-35 1 15,17 17-15,18-18 16,-18 18-16,-17 0 15,17 0-15,1 0 16,16 0-16,-16 0 16,-1 0-16,0 0 15,1 0-15,-1 0 16,0 0-16,0 0 15,1 18 1,17-18-16,-1 0 16,1 17-16,-17 1 15,17-18-15,0 0 16,-18 0-16,18 18 15,-18-18-15,0 17 16,1-17-16,16 0 16,1 0-16,-17 18 15,-1-18-15,0 0 16,0 0-16,18 0 15,-17 0-15,17 0 16,0 0-16,-1 0 16,1 0-16,0 0 15,0 0-15,0 0 16,0 0-16,0 0 15,0 0-15,35 0 16,-35 0-16,18 0 16,-1 0-16,18 0 15,0 0 1,1 0-16,16 0 15,-34 0-15,53 0 16,-36 0-16,0 0 16,-18 0-16,1 0 15,-18 0-15,0 0 16,35 0-16,-17 0 15,-1 0-15,1 0 16,35 0-16,-18 0 16,18 0-16,35 18 15,-18-18-15,1 0 16,-19 0-16,-16 0 15,34 0-15,-17 0 16,-35 0-16,34 17 16,-16-17-16,34 18 15,0 0-15,-17-1 16,-35-17-16,17 18 15,-17-1-15,-18 1 16,-1-18-16,1 18 16,0-1-16,0-17 15,0 0-15,0 18 16,0-18-1,0 18-15,0-18 16,0 0-16,0 0 16,-18 0-16,0 0 15,-17 0-15,-1 0 16,-17 0-16,18 0 15,0 0 1,-1 0-16,1 0 16,17 17-16,18-17 15,-35 0-15,-1 0 16,1 0-16,0 0 15,-1 0-15,36 18 16,0-18-16,35 18 16,1-18-16,16 0 15,1 0-15,-35 0 16,-18 0-16,-18 0 15,0 0-15,1 0 16,-1 0-16,0 0 16,0 0-16,-17 0 15,17 0-15,-17 0 16,0-18-16,17 18 15,-35 0 1,18 0 31,-1 0-47,1 0 15,17 0-15,18 0 16,0 0-16,0 0 16,-36 0-16,19 0 15,-36 0 16,17 0-15,1 18-16,0-18 16,-1 17-16,1-17 15,17 0-15,1 0 63,-36 0-63,17 0 15,1 0-15,-1 0 16,1 0-1</inkml:trace>
  <inkml:trace contextRef="#ctx0" brushRef="#br2" timeOffset="2">2699 10054 0,'-18'0'31,"18"0"-16,0 0-15,18 0 16,35 0-16,17 0 16,-17 0-16,0 0 15,0 0-15,-18 0 16,1 0-16,-19 0 15,18 0-15,-35 0 94,0 0-78,-35 0-16,0 0 15,0 0-15,17 0 16,-17 0-1,17 0-15,0 0 16,1 0 62,17 0-78,0 0 16,17 0-16,1 0 15,35-17-15,0 17 16,0 0-16,0 0 15,-18 0-15,-35-18 16,0 18 31,0 0-32,-18 0-15,1 0 16,-19 0-16,19 0 16,-1 0-16,-17 0 15,35-18 94,18 18-93,-1 0-16,1 0 16,-1 0-16,-17 0 46,0 0-30,-52 0-16,16 0 16,1 0-16,0 0 15,-1 0-15,1 0 16,35 0 31,0 0-32,18 0-15,17 0 16,0 0-1,1 0-15,-1 0 16,18 0-16,-18 0 16,-17 0-16,-1-17 15,1 17 32,-18 0-47,0 0 16,-18 0-16,1 0 15,-1 0-15,-17 0 16,-18 0-16,35 0 16,1 0-16,-1 0 15,18 0-15,-35 0 16,17 0-16,18 0 62,0 0-62,18 0 16,-18 0-16,0 0 62,0 0-62,0 0 16,-36 0-16,19 0 15,17 0-15,-18 0 16,1 0-16,-1 0 16,0 0-16,1 0 15,17 0 110,-18 0-109,0 0-16,-17 0 15,-18 0-15,35 17 16,1-17 31,17 0-32,17 0-15,-17 0 16,18 0-16,17 0 15,-17 0-15,0 0 16,17 0-16,-17 0 16,-1 0-16,19 0 15,-19 0-15,1 0 16,-18 0-16,17 0 15,-17 0-15,18 0 16,-18 0-16,0 0 94,0 0-94,0 0 15,-18 0-15,1 0 16,-1 0-16,18 0 93,0 0-93,35 0 16,-17 0-16,0 0 16,-1 0 77,-17 0-77,0 0-1,-35-17-15,17 17 16,1 0-16,-1 0 16,18-18 62,18 18-63,17 0-15,18 0 16,0-18-16,-18 1 15,0-1-15,1 18 16,-36 0-16,0 0 62,0 0-62,-18 0 16,-17 0-16,-18 0 16,18 0-16,17 0 15,0 0-15,-17 0 16,35 0-16,0-18 140,0 18-140,0 0 63,0 0-63,-18 0 15,1 0-15,-1 0 16,18 0-16,0 0 109,0 0-109,35-17 16,-35 17-16,18 0 15,0 0-15,-18 0 16,17 0-16,-17 0 78,0 0-63,-35 0-15,-18 0 16,0 0-16,0 0 16,18 0-16,17 0 15,1 0 32,17 0-31,0 0-16,35 0 15,0 0-15,18 0 16,18 0-16,-1 0 15,-17 0-15,-17 0 16,-1 0-16,-35 0 94,0 0-94,0 0 15,-18 0-15,1 0 16,-36 0-16,17 0 15,19 0-15,-1 0 78,18 0-62,0 0 0,0 0-1,18 0-15,-1 0 16,-17 0-16,18 0 15,-18 0-15,0-18 94,0 18-78,0 0-1,0-17-15,-18 17 16,1 0-16,-1 0 15,18 0 32,0 0-31,0-18-16,0 18 15,18 0-15,-1 0 16,-17 0-16,18-18 16,-18 18-16,0-17 15,0 17 126,0 0-126,0 0-15,-18 0 16,1 0-16,-1 0 62,18-18 1</inkml:trace>
  <inkml:trace contextRef="#ctx0" brushRef="#br0" timeOffset="3">2117 8573 0,'0'-18'32,"17"18"-17,-17 0 1,18 0-16,-18 0 15,18 0 1,-1 0 31,-17 0-32,18 0-15,-18 0 16,17 0-16,1 0 16,-18 18-16,18-18 15,-18 0-15,0 0 16,0 17 15,0 1-15,17-18-1,-17 17-15,18-17 16,0 18-1,-18 0-15,0-18 16,17 0-16,-17 17 16,0-17-16,0 0 15,0 18 16,0-18-15,0 18 0,0-1-16,0-17 15,0 18-15,18-18 16,-18 18-1,0-18 1,0 17 0,0 1-1,0-18-15,0 17 16,0-17-16,0 18 15,0 0 1,0-18-16,0 17 16,0-17-16,0 36 15,0-36-15,0 17 16,0-17-16,-18 18 15,18-18-15,0 18 16,-17-1-16,-1-17 16,18 18-16,-18-18 15,18 0 1,0 17-16,-17 1 15,17-18-15,-18 0 16,0 18-16,18-18 16,0 0-16,-17 0 15,17 17-15,-18-17 16,1 0-16,17 0 15,-18 0-15,0 0 16,18 0-16,-17 0 16,-1 0-16,18 0 15,-18 0-15,18 0 16,-17 0-1,-1 0-15,18 0 16,-18 0-16,18 0 16,-35 0-16,35 0 15,-17 0-15,-19 0 16,19 0-16,-1 0 15,18 0 1,-18 0 31,18 0-47,-17 0 15,17 0-15,-18-17 16,0 17-16,1-18 16,-1 0-16,18 18 15,-17-17-15,17 17 16,-18-18-16,18 1 15,0 17 1,0-18 0,0 18-16,0-18 15,0 1-15,0-1 16,0 0-16,0 1 15,0-19-15,0 19 16,0 17-16,0-35 16,0 35-16,0-36 15,0 36-15,0-17 16,0 17-16,0-18 15,18 18-15,-18-18 16,17 1-16,1 17 16,-18 0-16,17 0 15,-17-18 1,18 18 77,0 0-93,-18-18 16,17 18-16,1-17 16,0 17-16,-18 0 15,17 0-15,-17 0 16,36 0-16,-36-18 15,17 18-15</inkml:trace>
  <inkml:trace contextRef="#ctx0" brushRef="#br0" timeOffset="4">1993 9084 0,'-17'0'15,"17"18"1,0-18-16,0 17 16,0-17-16,-18 18 15,18 0 1,0-18-16,0 17 15,0-17-15,-18 36 16,1-19-16,17 1 16,0-1-16,-18 1 15,18 0-15,-18 17 16,1-17-16,17 17 15,-18-35-15,18 18 16,0-1-16,0-17 16,-18 18-16,18-18 15,0 17 1,0-17-16,0 18 15,0 0-15,0-18 32,0 17-32,-17-17 15,17 0-15,0 18 16,0 0-16,0-18 15,-18 0-15,18 17 16,0-17 140,0 0-140,18 0-16,35 0 15,-18 0-15,0 0 16,-17 18-16,17-18 15,-17 0-15,-1 0 16,-17 0-16,18 0 16,-18 0 186,18 0-155,-1 0 0,-17 18-31,18-18-16,-18 0 15,18 0-15,-18 0 94,17 0-94,1 0 15,-18 0-15,18 0 78,-18 0-31,17 0-47,1 0 16,-18 0-16,17 0 15,1 0-15,0 0 16,-18 0-16,17 17 156,-17-17-140,0 18-16,0-1 15,0-17 1,0 18-16,0-18 15,0 18-15,0-1 16,0-17-16,0 18 16,0-18-16,0 18 15,0-18-15,0 17 16,0 1-16,0 0 15,0-18-15,0 35 16,0-35-16,0 35 16,0-35-16,0 18 62,0-18-15,0 17-32,0-17 1,0 18 0,0 0-1,0-18 1,0 17-16,0-17 47,0 18-16,0 0-31,0-18 31,0 17 16,0-17-32</inkml:trace>
  <inkml:trace contextRef="#ctx0" brushRef="#br0" timeOffset="5">1817 9613 0,'0'0'47,"0"0"-32,0 0-15,0 0 16,0 18-1,0-18-15,0 17 16,-18 1-16,18-18 16,0 18-16,0-18 15,0 17-15,-17-17 16,17 18-16,0-18 125,17 0-110,1 0-15,-18 0 16,35 0-16,-17 0 15,-1 0-15,-17 0 16,18 0-16,0 0 16,-1 0-16,1 0 15,-18 0-15,18 0 78,-1 0-78,-17 0 47,18 0-31,-18 0-1,17 0-15,1 0 16,-18 0-16,18 18 171,-18-18-124,0 17-31,0-17-1,0 18 1,0 0 0,0-18-16,0 17 15,0-17-15,0 18 16,0-18-16,0 18 15,0-1-15,0-17 16,0 18-16,0-18 16,0 17-1,0 1 1,0-18-16,-18 18 15</inkml:trace>
  <inkml:trace contextRef="#ctx0" brushRef="#br0" timeOffset="6">1976 9208 0,'17'0'78,"-17"17"-78,18-17 15,-1 18-15,1-1 16,17 19-16,18-19 16,0 36-16,0-17 15,35 16-15,-35-34 16,0 17-16,-18-35 15,-17 18-15,0-18 16,-1 18-16</inkml:trace>
  <inkml:trace contextRef="#ctx0" brushRef="#br0" timeOffset="7">1887 9402 0,'0'0'47,"0"0"-47,18 0 15,-18 0-15,18 0 16,-18 17-16,17-17 15,1 18-15,0-1 16,-18-17-16,0 0 16,17 0-1,1 0 16,-18 18-31,17-18 16,-17 0-16,18 0 16,-18 0 15,18 0-16,-1 0-15,-17 18 16,18-18 62,-18 0-62</inkml:trace>
  <inkml:trace contextRef="#ctx0" brushRef="#br0" timeOffset="8">7461 9313 0,'0'0'46,"0"0"-30,0-17 0,18 17-16,-18 0 15,18 0 1,-18 0-1,0-18-15,17 18 16,-17 0 0,18 0-1,-1 0 1,-17 0-16,18 0 15,-18 0-15,18 0 16,-1 0-16,1 0 16,0 0-16,-1 0 15,-17 0 1,18 0-16,-18 0 15,35 0-15,-17 0 16,-1 0-16,-17 0 16,18 0-16,-18 0 15,18 0 32,-18 0-31,17 0-16,1 0 15,0 0-15,-18 0 16,17 0-16,1 0 15,-18 0-15,0 0 16,18 18 0,-18-18-16,0 0 15,17 17-15,-17-17 16,18 0-16,-18 18 15,0-18-15,0 18 16,18-1-16,-18-17 16,0 18-16,17 17 15,-17-35-15,0 35 16,18-35-16,-18 18 15,0 17-15,0-17 16,0 17-16,0-35 16,0 18-16,0 17 15,0-35-15,0 18 16,0 17-16,0-35 15,0 18-15,0-1 16,0-17-16,0 18 16,0-18-16,0 18 15,0-18-15,0 17 16,0 1-16,0 0 15,0-18-15,0 35 16,-18-35 0,1 18-16,17-1 15,0 1-15,-18-18 16,0 35-16,18-35 15,0 18-15,-17-18 16,17 17-16,-18 1 16,18-18-16,-35 18 15,17-18-15,0 17 16,1-17-16,-1 0 15,0 0-15,1 18 16,-1-18-16,-17 0 16,17 0-16,1 0 15,-36 0-15,35 0 16,0 0-16,18 0 15,-17 0-15,17 0 16,-35 0-16,35 0 16,-18 0-16,-17-18 15,-1 18-15,1-35 16,-18 17-16,18-17 15,17 17-15,-17 1 16,17-1 0,18-17-16,0 35 15,0-18-15,0 1 16,0-1-16,0 0 15,0 1-15,0-1 16,0 0-16,0 1 16,0 17-16,0-18 15,0 18 1,0-18-1,0 1-15,0 17 16,0-18-16,0 18 16,18 0-16,-18-17 15,18 17-15,-18 0 16,17-18-1,1 18 1,-18-18 0,0 18-16,0 0 15,18 0-15,-18-17 16,0 17-16,17 0 15,-17 0-15,0-18 16,0 0 15,18 18-15,-18 0-16,17 0 15,-17-17-15,0 17 16,0 0 140,0-18-156,0 18 31,0-18-15,18 18-1,-18-17 17,0 17-1,0-18 0</inkml:trace>
  <inkml:trace contextRef="#ctx0" brushRef="#br0" timeOffset="9">7638 10072 0,'0'17'62,"0"1"-62,0-18 16,0 18-16,0-18 15,0 17 1,0 1-16,0 0 15,0-1-15,0 1 16,0 35-16,0-18 16,0 0-16,17-17 15,-17 35-15,18-18 16,-18-17-16,0 17 15,0 0-15,18-17 16,-18 17-16,0 1 16,0-19-16,0 1 15,0 17-15,0-35 16,0 18 77</inkml:trace>
  <inkml:trace contextRef="#ctx0" brushRef="#br0" timeOffset="10">7549 10336 0,'0'0'47,"-17"0"-47,17 0 16,-35 0-16,17 0 15,-17-17-15,-1-1 16,-34 0-16,-1 1 15,-17-1-15,17 1 16,-17-19-16,35 19 16,0-1-16,18 18 15,18 0 1</inkml:trace>
  <inkml:trace contextRef="#ctx0" brushRef="#br0" timeOffset="11">7761 10301 0,'0'0'63,"0"0"-63,0 0 15,18 0-15,-1-18 16,1 18-16,17-17 16,1-1-16,-1 1 15,18 17-15,-18 0 16,0-18-16,-17 0 15,17 18-15</inkml:trace>
  <inkml:trace contextRef="#ctx0" brushRef="#br0" timeOffset="12">7638 10795 0,'0'0'15,"0"0"1,-18 0-16,18 18 16,0-18-16,0 17 15,-18 1-15,18 0 16,-17-1-16,17 18 15,0 18-15,0-17 16,-18-1-16,0 0 16,1 18-16,17-18 15,-18 1-15,1-19 16,-1 36-16,18-35 15,0 0-15,-18 17 16,18-35-16,-17 17 16,17 1-1,0-18 94,0 18-93</inkml:trace>
  <inkml:trace contextRef="#ctx0" brushRef="#br0" timeOffset="13">7691 10795 0,'0'0'47,"0"18"-47,0-18 16,17 17-16,-17 36 15,18-18-15,-18 1 16,17 17-16,-17 0 16,18 17-16,-18 1 15,18-1-15,-18-17 16,0 0-16,0 0 15,0 0-15,0-35 16,0-1-16,17 1 172</inkml:trace>
  <inkml:trace contextRef="#ctx0" brushRef="#br0" timeOffset="14">16880 9984 0,'-17'0'15,"17"0"1,-18 0-16,1 0 16,17 0-16,0 17 15,-18-17-15,18 0 16,0 0-16,-18 0 15,1 0-15,17 18 16,-18-18-16,-17 0 16,-18 18-16,17-1 15,1 1-15,0-18 16,17 17-16,-17 1 16,35-18-16,-18 18 15,1-1-15,-1-17 16,18 18-16,-18-18 15,18 18-15,0-1 16,0-17-16,0 18 16,0-18-16,0 18 15,0-18-15,-17 35 16,17-35-1,0 35-15,0-17 16,0-1-16,0 1 16,0 0-16,0-1 15,0-17-15,0 18 16,0-18-16,0 18 15,0-18-15,0 17 16,0 1-16,0 0 16,0-18-16,0 35 15,0-35-15,0 17 16,0-17-16,0 18 15,0 0-15,0-18 32,0 0-17,17 0 1,-17 17-1,0-17-15,18 0 16,-18 0-16,18 18 16,-1 0-16,-17-18 15,36 0-15,-19 17 16,1 1-1,17-18-15,-17 18 16,17-1-16,-35-17 16,18 0-16,-1 0 15,1 0-15,17 0 16,-35 0-16,18 0 15,-18 0-15,18 0 16,-1 0-16,-17 0 16,18 0-1,-18 0-15,18 18 16,-18-18-16,35 0 15,-18 0-15,1 0 16,-18 0-16,18 0 62,-18 0-62,35 0 16,-35 0-16,18 0 16,17-18-16,-17 1 15,-1 17-15,-17-18 16,18 18-1,-1-18-15,-17 1 16,0-1-16,18 0 16,0-35-16,-18 36 15,0-1-15,0 1 16,0-1-16,0 0 15,0-17-15,0 35 16,0-18-16,0 1 16,0-1-16,0 18 15,0-18-15,0-17 16,0 35-16,0-18 15,0 18 17,0-17-17,0 17 1,-18-18-1,0 18-15,18 0 16,0 0-16,-17-17 16,17 17-16,0-18 15,-18 18-15,18-18 16,0 18-1,-17 0 1,17-17-16,0 17 16,0 0-16,-18-18 15,18 18-15,0 0 16,0-18-16,-18 1 15,18 17 17,-17-18 124,-1 18-78,18 0-78,-18 0 15,18 0-15,0-18 16,-17 18-16,-1 0 15,18 0 95,-18 0-95,18 0 1,-17 0 280,17 0-218,-18 0-78,1 0 16,17 0-1</inkml:trace>
  <inkml:trace contextRef="#ctx0" brushRef="#br0" timeOffset="15">17163 10460 0,'0'0'109,"0"0"-109,35 0 15,0 0-15,0 0 16,1 0-16,34 0 16,-17 0-16,18 18 15,17-1-15,-17 1 16,34-1-16,-34-17 15,-36 0-15,0 18 16,1-18-16,-36 0 47,17 0-47,1 0 15,0 0-15,-18 0 16,35 0-16,-35 0 109,18 0-109,17 18 16,-17-18-16,17 17 15,0 1-15</inkml:trace>
  <inkml:trace contextRef="#ctx0" brushRef="#br0" timeOffset="16">17551 10495 0,'0'-17'109,"0"-1"-78,0 18-15,0-18-1,0 18 1,0-17 0,-18 17-16,18-18 15,0 0-15,-18 18 16,18 0-16,0-17 15,0 17-15,0-18 16,0 0-16,-17 18 16,17 0-16,0-17 15,0 17 1,-18 0 93,18 0-93,0 0-16,-17 0 15,-1 0-15,18 0 16,-18 0-16,1-18 15,-1 18-15,0 0 16,1-18-16,-1 18 16,18 0-16,-18 0 15,1 0 1,17 0-1,-18 0-15,-17 0 16,35 0-16,-18 0 78,1 0-62,17 0-1</inkml:trace>
  <inkml:trace contextRef="#ctx0" brushRef="#br0" timeOffset="17">17639 10619 0,'0'0'47,"0"17"-31,0-17-16,35 0 15,0 36-15,1-1 16,17-35-16,-18 35 16,0-17-16,0-1 15,1 1-15,-19-18 16,19 18-1,-36-1-15,17-17 94,-17 0-94,18 0 16</inkml:trace>
  <inkml:trace contextRef="#ctx0" brushRef="#br0" timeOffset="18">18115 10672 0,'18'0'15,"-18"-18"-15,0 18 47,17 0-31,-17-18-16,18 18 15,0-17-15,17 17 16,-17-18-16,17 0 16,18-17-16,-18 0 15,0 17-15,18-17 16,-17 17-16,-1 1 15,0-1-15,-17 18 16,-1 0-16</inkml:trace>
  <inkml:trace contextRef="#ctx0" brushRef="#br0" timeOffset="19">18098 10636 0,'17'0'0,"1"0"47,-18 0-47,35 18 15,0-18-15,18 0 16,0 18-16,-18-18 16,1 17-16,-19-17 15,36 0-15,-17 18 16,16-1-16,1 19 15,18-36-15,-18 35 16,0-17-16,35 17 16,-53-35-16,1 18 15</inkml:trace>
  <inkml:trace contextRef="#ctx0" brushRef="#br0" timeOffset="20">18556 10389 0,'0'0'109,"0"0"-109,0 0 15,18 0-15,-18-17 16,17-1-16,1 18 16,-18 0-16,0-18 15,18 18-15,-18-17 16,17 17-16,-17 0 47,18 0-32,-18-18 1,0 18-16,18-18 15,-18 18-15,17-17 16,-17 17 0,0 0-1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8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48.44904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9-09-05T12:13:58.204"/>
    </inkml:context>
    <inkml:brush xml:id="br0">
      <inkml:brushProperty name="width" value="0.05292" units="cm"/>
      <inkml:brushProperty name="height" value="0.05292" units="cm"/>
    </inkml:brush>
    <inkml:brush xml:id="br1">
      <inkml:brushProperty name="width" value="0.05292" units="cm"/>
      <inkml:brushProperty name="height" value="0.05292" units="cm"/>
      <inkml:brushProperty name="color" value="#0070C0"/>
    </inkml:brush>
    <inkml:brush xml:id="br2">
      <inkml:brushProperty name="width" value="0.05292" units="cm"/>
      <inkml:brushProperty name="height" value="0.05292" units="cm"/>
      <inkml:brushProperty name="color" value="#FFC000"/>
    </inkml:brush>
  </inkml:definitions>
  <inkml:trace contextRef="#ctx0" brushRef="#br0">741 10019 0,'0'0'0,"0"18"63,0-18-63,0 0 15,17 0-15,36 0 16,0 17-16,18-17 16,-18 0-16,17 18 15,-17-18-15,18 0 16,17 17-16,-35-17 15,17 0-15,1 0 16,35 0-16,-18 0 16,18 0-16,-36 0 15,36 0-15,-18 0 16,36 0-16,-18 0 15,-36 0 1,1 18-16,-1 0 16,-17-18-16,-17 0 15,17 17-15,-1-17 16,1 0-16,0 18 15,0-18-15,18 0 16,70 18-16,-35-18 16,17 0-16,-17 17 15,18 1-15,-1 0 16,18-1-16,-35 1 15,-18-1-15,-35-17 16,-18 0-16,1 0 16,-1 18-16,0-18 15,0 18-15,18-1 16,0-17-16,18 36 15,-18-1-15,35 0 16,-18-17-16,36 17 16,0 0-16,-18 1 15,-17-1-15,17 0 16,0 1-1,-35-19-15,0 18 16,18 1-16,-36-19 16,18 19-16,17-1 15,-17 0-15,18 0 16,-18 1-16,-18-19 15,18 19-15,-18-19 16,1 1-16,16 17 16,19-17-16,17 35 15,18-18-15,-35 0 16,34 1-16,-34-19 15,17 19-15,-35-19 16,35-17-16,-35 35 16,0-17-16,18 17 15,-36-35-15,18 18 16,0 0-16,0-1 15,17 1-15,-17-18 16,0 18-16,0-1 16,0 18-16,0-35 15,-18 18-15,-17 0 16,35-1-1,-18-17-15,0 36 16,18-19-16,18 1 16,-18 17-16,0 1 15,35-19-15,-18 1 16,19 17-16,-37-17 15,1-1-15,18 19 16,-18-36-16,-18 17 16,53 19-16,-17-1 15,17 0-15,18 0 16,0 18-16,70 0 15,-52-18-15,-19 1 16,-34-1-16,0-17 16,-36-1-16,0 1 15,0 0-15,36-1 16,-18 19-16,35-1 15,-17-18-15,34 1 16,1 0-16,-18-1 16,18 1-16,-18-18 15,-17 18-15,-18-1 16,0 1-1,35 0-15,-17-18 16,-18 17-16,-1-17 16,19 0-16,17 0 15,-17 18-15,-1-18 16,54 17-16,-36 1 15,18 0-15,-36-18 16,1 17-16,35-17 16,-36 18-16,36-18 15,-35 0-15,-1 18 16,18-18-16,-17 0 15,-18 17-15,0-17 16,35 18-16,-17-18 16,-1 18-16,18-1 15,-17 1-15,-1-18 16,19 0-16,-1 17 15,18-17-15,-1 0 16,-34 18-16,35-18 16,-18 18-16,18-18 15,0 17-15,-18 1 16,0 0-1,-17-18-15,17 17 16,0 1-16,0 0 16,-17-1-16,-18 1 15,35 0-15,-18-1 16,19 1-16,-19-18 15,36 0-15,18 17 16,-1 1-16,-17 0 16,-36-1-16,-17-17 15,18 18-15,-1 0 16,-17-1-16,0-17 15,18 18-15,-1-18 16,19 0-16,-37 0 16,19 18-16,0-18 15,17 17-15,0-17 16,0 18-16,-17-1 15,-1-17-15,18 18 16,-17-18-16,0 18 16,17-1-16,-18-17 15,1 0-15,17 18 16,-17-18-1,-1 0-15,-17 0 16,18 0-16,-18 18 16,0-18-16,17 17 15,1 1-15,17-18 16,-18 18-16,1-1 15,70 1-15,-53-18 16,18 0-16,-35 17 16,17-17-16,-18 0 15,1 0-15,-1 18 16,19-18-16,-19 18 15,18-1-15,-17-17 16,35 18-16,-36-18 16,1 0-16,-1 18 15,19-18-15,-19 17 16,36 1-16,-35-18 15,34 0-15,-16 18 16,34-18-16,1 0 16,-1 17-16,-17-17 15,-18 0-15,18 0 16,-36 18-1,1-18-15,17 18 16,-35-18-16,0 0 16,0 0-16,18 17 15,-19-17-15,19 0 16,-18 18-16,-18-18 15,0 0-15,1 0 16,-1 17-16,18-17 16,-18 0-16,1 0 15,-1 0-15,0 0 16,18 18-16,0 0 15,0-18-15,17 17 16,19 1-16,-37 0 16,19-18-16,-18 0 15,0 0-15,17 0 16,19 17-16,-19-17 15,18 18-15,-17 0 16,-18-1-16,17-17 16,19 18-16,-19-1 15,18-17-15,-35 0 16,0 18-1,0-18-15,18 18 16,-1-18-16,-17 0 16,18 17-16,-18-17 15,0 18-15,-1-18 16,-16 0-16,-1 0 15,0 0-15,18 0 16,-35 0-16,-1 0 16,19 0-16,-19 0 15,1 0-15,0 0 16,17 0-16,-17 0 15,17 0-15,0 0 16,36 0-16,-18 0 16,-18 0-16,0 0 15,0 0-15,1 0 16,17 0-16,-18 0 15,0 0-15,0 0 16,1 0-16,-1 0 16,0 0-16,-17 0 15,17 0-15,0 0 16,-17 0-1,0 0-15,-1 0 16,1 0-16,0 0 16,17 0-16,-17 0 15,-1 0-15,19 0 16,-1 0-16,0 0 15,0 0-15,-17 0 16,17 0-16,-17 0 16,0 0-16,17 0 15,-18 0-15,1 0 16,17 0-16,-17 0 15,0 0-15,17 0 16,-35 0-16,18 0 16,-18 0 15,17 0-31,-17 0 15,18 0-15,-1 0 16,-17 0 46,18 0-46,-18 0-16,35 0 16,-35 0-16,18 18 15,-18-18-15,18 0 16,-1 0-1,-17 0 1,18 0-16,-18 0 16,35 0-16,1 0 15,-1 17-15,-18-17 16,19 0-16,-36 0 15,17 0 1,-17 18-16,18-18 16,-18 0-16,18 0 15,-1 0-15,19 0 16,-36 0-16,17 0 15,1 0 63,-1 0-78,-17 0 16,18 0-16,17 0 16,-35 0-16,18 0 15,0 0 63</inkml:trace>
  <inkml:trace contextRef="#ctx0" brushRef="#br1" timeOffset="1">5362 10724 0,'0'0'78,"0"0"-62,0-17-16,18 17 15,0 0-15,34 0 16,-16 0-16,17 0 15,-18 0-15,0 0 16,0 0-16,1 0 16,-19 0-16,19 0 15,-1 0-15,0 0 16,-17 0-16,-1 0 15,19 0-15,-19 0 16,1 0 46,0 0-62,-18 0 16,35 0-16,0 0 16,1 0-16,-1 0 15,0 0 1,18 0-16,-18 0 15,1 0-15,-1 0 16,0 0-16,18 0 16,-18 0-16,-17 0 15,17 0-15,0 0 16,-17 0-16,0 0 15,-1 0 48,1 0-48,0 0-15,-18 0 16,17 0-16,19-18 16,-19 18-16,1 0 15,35-17-15,-36 17 16,1-18-16,17 18 15,-17 0-15,0-18 16,-18 18-16,17 0 16,-17 0-16,18 0 15,0 0 1,-18 0-16,17 0 15,-17 0 1,18-17 0,-1 17-16,1 0 15,0 0-15,-1 0 16,1 0-16,0 0 62,-18 0-62,17 0 16,-17 0-16,36 0 15,-19 0-15,1 0 16,-1 0-16,1 0 16,0 0-16,-18 0 15,17 0-15,1 0 16,0 0-16,-1 0 15,1 0-15,0 0 16,-1 0-16,1 0 16,17 0-16,-35 0 15,18 0 1,-18 0-16,17 0 15,1 0 1,-18 0 0,18 0-16,-1 0 15,1 0-15,0 0 16,-1 17-16,1-17 15,-18 0-15,18 0 16,-1 0-16,-17 0 16,18 0-16,-1 0 15,19 0-15,-1 0 16,0 0-16,18 0 15,-18 0-15,-17 0 16,17 0-16,1 0 16,-19 0-16,19 0 15,-1 0-15,18 0 16,-18 0-16,-17 0 15,17 18-15,0-18 16,36 18-16,-36-18 16,0 0-16,1 0 15,-1 0 1,0 0-16,-17 0 15,-1 0-15,19 0 16,-36 0-16,17 0 16,1 17-16,0-17 15,-18 0-15,17 0 16,-17 0-16,18 0 15,0 0-15,-18 0 16,17 0-16,1 18 16,0-18-16,-1 17 15,1 1-15,-1-18 16,1 18-16,0-18 15,-18 17-15,17-17 16,1 0 15,-18 0-15,18 0-16,-18 0 15,35 0-15,-17 0 16,17 0-16,18 0 16,-18-17-16,18 17 15,-35 0 1,-1 0-16,18-18 15,-17 18-15,0 0 16,-18 0-16,17 0 16,-17 0-16,36 0 15,-19 0-15,1 0 16,17 0-16,18 0 15,-35 0-15,-1 0 16,1 0-16,17 0 16,-17 0-16,0 0 15,17 0-15,-17 0 16,-1 0-16,18 0 15,-17 0-15,0 0 16,17 0-16,0 0 16,-17 0-16,0 0 15,17 0-15,-35 0 16,17 0-16,1 0 15,0 0-15,17 0 16,0 0-16,1 0 16,17 0-16,-18 0 15,18 0 1,-18 0-16,-17 0 15,17 0-15,-17 0 16,-18 18-16,17-18 16,1 0-16,-18 0 15,17 17-15,36-17 16,-35 0-16,0 18 15,17-18-15,-35 0 16,18 0 15,-18 0-15,17 18-16,1-18 15,17 0-15,18 0 16,-18 0-16,1 17 16,-1-17-16,0 0 15,-17 0-15,-1 0 16,19 0-16,17 0 15,-18 0-15,18 0 16,0 0-16,0 0 16,0 0-16,-1-17 15,37-1 1,-36 0-16,-18 1 15,0 17-15,0 0 16,-17 0-16,0 0 16,-1 0-1,1 0 1,-18 0-1,18 0 1,-18 0-16,17 0 16,1 0-16,0 0 15,17 0-15,-18 0 16,1 0-16,17 0 15,-17 0-15,17 0 16,1 0-16,16 0 16,1-18-16,0 0 15,0 1-15,35-18 16,-35 35-16,0-36 15,0 19-15,0-1 16,-18 18-16,-17 0 16,17 0-16,-17 0 15,17 0 1,0 0-16,1 0 15,17 0-15,-18 0 16,0 0-16,1 0 16,-1 0-16,0 0 15,0 0-15,-17 0 16,17 0-16,1 0 15,-1 18-15,0-18 16,0 0-16,1 0 16,-19 0-16,1 0 15,17 0-15,-17 0 16,-1 17-16,-17-17 15,18 0-15,17 18 16,-35-18-16,36 0 16,-19 0-16,19 18 15,-1-18-15,18 0 16,-18 0-16,0 0 15,1 0-15,-1 0 16,0 0-16,0 0 16,1 0-16,-1 17 15,18-17 1,-18 0-16,18 18 15,-18-18-15,18 0 16,0 0-16,0 17 16,0-17-16,0 18 15,-18-18-15,1 0 16,-1 0-16,18 0 15,0 18-15,35-18 16,-18 0-16,1 0 16,17 0-16,-17 0 15,-18-18-15,0 0 16,17 18-16,-17 0 15,18 0-15,-19 0 16,1 0-16,0 0 16,0 0-16,-35 0 15,17 0-15,0 0 16,-17 0-16,0 0 15,17 0-15,18 0 16,-18 0-16,0 0 16,1 18-16,17 0 15,0-18 1,-1 0-16,-16 0 15,-1 17-15,0 1 16,1-18-16,-1 0 16,0 18-16,0-18 15,18 0-15,18 0 16,-1 0-16,-17 0 15,0 0-15,18 0 16,-18 0-16,-18 0 16,36-18-16,-18-17 15,-1 17-15,1-17 16,-17 17-16,-1-17 15,18 17-15,-18-17 16,18 0-16,-18 17 16,18 0-16,-35 1 15,17 17-15,18-18 16,-18 18-16,-17 0 15,17 0-15,1 0 16,16 0-16,-16 0 16,-1 0-16,0 0 15,1 0-15,-1 0 16,0 0-16,0 0 15,1 18 1,17-18-16,-1 0 16,1 17-16,-17 1 15,17-18-15,0 0 16,-18 0-16,18 18 15,-18-18-15,0 17 16,1-17-16,16 0 16,1 0-16,-17 18 15,-1-18-15,0 0 16,0 0-16,18 0 15,-17 0-15,17 0 16,0 0-16,-1 0 16,1 0-16,0 0 15,0 0-15,0 0 16,0 0-16,0 0 15,0 0-15,35 0 16,-35 0-16,18 0 16,-1 0-16,18 0 15,0 0 1,1 0-16,16 0 15,-34 0-15,53 0 16,-36 0-16,0 0 16,-18 0-16,1 0 15,-18 0-15,0 0 16,35 0-16,-17 0 15,-1 0-15,1 0 16,35 0-16,-18 0 16,18 0-16,35 18 15,-18-18-15,1 0 16,-19 0-16,-16 0 15,34 0-15,-17 0 16,-35 0-16,34 17 16,-16-17-16,34 18 15,0 0-15,-17-1 16,-35-17-16,17 18 15,-17-1-15,-18 1 16,-1-18-16,1 18 16,0-1-16,0-17 15,0 0-15,0 18 16,0-18-1,0 18-15,0-18 16,0 0-16,0 0 16,-18 0-16,0 0 15,-17 0-15,-1 0 16,-17 0-16,18 0 15,0 0 1,-1 0-16,1 0 16,17 17-16,18-17 15,-35 0-15,-1 0 16,1 0-16,0 0 15,-1 0-15,36 18 16,0-18-16,35 18 16,1-18-16,16 0 15,1 0-15,-35 0 16,-18 0-16,-18 0 15,0 0-15,1 0 16,-1 0-16,0 0 16,0 0-16,-17 0 15,17 0-15,-17 0 16,0-18-16,17 18 15,-35 0 1,18 0 31,-1 0-47,1 0 15,17 0-15,18 0 16,0 0-16,0 0 16,-36 0-16,19 0 15,-36 0 16,17 0-15,1 18-16,0-18 16,-1 17-16,1-17 15,17 0-15,1 0 63,-36 0-63,17 0 15,1 0-15,-1 0 16,1 0-1</inkml:trace>
  <inkml:trace contextRef="#ctx0" brushRef="#br2" timeOffset="2">2699 10054 0,'-18'0'31,"18"0"-16,0 0-15,18 0 16,35 0-16,17 0 16,-17 0-16,0 0 15,0 0-15,-18 0 16,1 0-16,-19 0 15,18 0-15,-35 0 94,0 0-78,-35 0-16,0 0 15,0 0-15,17 0 16,-17 0-1,17 0-15,0 0 16,1 0 62,17 0-78,0 0 16,17 0-16,1 0 15,35-17-15,0 17 16,0 0-16,0 0 15,-18 0-15,-35-18 16,0 18 31,0 0-32,-18 0-15,1 0 16,-19 0-16,19 0 16,-1 0-16,-17 0 15,35-18 94,18 18-93,-1 0-16,1 0 16,-1 0-16,-17 0 46,0 0-30,-52 0-16,16 0 16,1 0-16,0 0 15,-1 0-15,1 0 16,35 0 31,0 0-32,18 0-15,17 0 16,0 0-1,1 0-15,-1 0 16,18 0-16,-18 0 16,-17 0-16,-1-17 15,1 17 32,-18 0-47,0 0 16,-18 0-16,1 0 15,-1 0-15,-17 0 16,-18 0-16,35 0 16,1 0-16,-1 0 15,18 0-15,-35 0 16,17 0-16,18 0 62,0 0-62,18 0 16,-18 0-16,0 0 62,0 0-62,0 0 16,-36 0-16,19 0 15,17 0-15,-18 0 16,1 0-16,-1 0 16,0 0-16,1 0 15,17 0 110,-18 0-109,0 0-16,-17 0 15,-18 0-15,35 17 16,1-17 31,17 0-32,17 0-15,-17 0 16,18 0-16,17 0 15,-17 0-15,0 0 16,17 0-16,-17 0 16,-1 0-16,19 0 15,-19 0-15,1 0 16,-18 0-16,17 0 15,-17 0-15,18 0 16,-18 0-16,0 0 94,0 0-94,0 0 15,-18 0-15,1 0 16,-1 0-16,18 0 93,0 0-93,35 0 16,-17 0-16,0 0 16,-1 0 77,-17 0-77,0 0-1,-35-17-15,17 17 16,1 0-16,-1 0 16,18-18 62,18 18-63,17 0-15,18 0 16,0-18-16,-18 1 15,0-1-15,1 18 16,-36 0-16,0 0 62,0 0-62,-18 0 16,-17 0-16,-18 0 16,18 0-16,17 0 15,0 0-15,-17 0 16,35 0-16,0-18 140,0 18-140,0 0 63,0 0-63,-18 0 15,1 0-15,-1 0 16,18 0-16,0 0 109,0 0-109,35-17 16,-35 17-16,18 0 15,0 0-15,-18 0 16,17 0-16,-17 0 78,0 0-63,-35 0-15,-18 0 16,0 0-16,0 0 16,18 0-16,17 0 15,1 0 32,17 0-31,0 0-16,35 0 15,0 0-15,18 0 16,18 0-16,-1 0 15,-17 0-15,-17 0 16,-1 0-16,-35 0 94,0 0-94,0 0 15,-18 0-15,1 0 16,-36 0-16,17 0 15,19 0-15,-1 0 78,18 0-62,0 0 0,0 0-1,18 0-15,-1 0 16,-17 0-16,18 0 15,-18 0-15,0-18 94,0 18-78,0 0-1,0-17-15,-18 17 16,1 0-16,-1 0 15,18 0 32,0 0-31,0-18-16,0 18 15,18 0-15,-1 0 16,-17 0-16,18-18 16,-18 18-16,0-17 15,0 17 126,0 0-126,0 0-15,-18 0 16,1 0-16,-1 0 62,18-18 1</inkml:trace>
  <inkml:trace contextRef="#ctx0" brushRef="#br0" timeOffset="3">2117 8573 0,'0'-18'32,"17"18"-17,-17 0 1,18 0-16,-18 0 15,18 0 1,-1 0 31,-17 0-32,18 0-15,-18 0 16,17 0-16,1 0 16,-18 18-16,18-18 15,-18 0-15,0 0 16,0 17 15,0 1-15,17-18-1,-17 17-15,18-17 16,0 18-1,-18 0-15,0-18 16,17 0-16,-17 17 16,0-17-16,0 0 15,0 18 16,0-18-15,0 18 0,0-1-16,0-17 15,0 18-15,18-18 16,-18 18-1,0-18 1,0 17 0,0 1-1,0-18-15,0 17 16,0-17-16,0 18 15,0 0 1,0-18-16,0 17 16,0-17-16,0 36 15,0-36-15,0 17 16,0-17-16,-18 18 15,18-18-15,0 18 16,-17-1-16,-1-17 16,18 18-16,-18-18 15,18 0 1,0 17-16,-17 1 15,17-18-15,-18 0 16,0 18-16,18-18 16,0 0-16,-17 0 15,17 17-15,-18-17 16,1 0-16,17 0 15,-18 0-15,0 0 16,18 0-16,-17 0 16,-1 0-16,18 0 15,-18 0-15,18 0 16,-17 0-1,-1 0-15,18 0 16,-18 0-16,18 0 16,-35 0-16,35 0 15,-17 0-15,-19 0 16,19 0-16,-1 0 15,18 0 1,-18 0 31,18 0-47,-17 0 15,17 0-15,-18-17 16,0 17-16,1-18 16,-1 0-16,18 18 15,-17-17-15,17 17 16,-18-18-16,18 1 15,0 17 1,0-18 0,0 18-16,0-18 15,0 1-15,0-1 16,0 0-16,0 1 15,0-19-15,0 19 16,0 17-16,0-35 16,0 35-16,0-36 15,0 36-15,0-17 16,0 17-16,0-18 15,18 18-15,-18-18 16,17 1-16,1 17 16,-18 0-16,17 0 15,-17-18 1,18 18 77,0 0-93,-18-18 16,17 18-16,1-17 16,0 17-16,-18 0 15,17 0-15,-17 0 16,36 0-16,-36-18 15,17 18-15</inkml:trace>
  <inkml:trace contextRef="#ctx0" brushRef="#br0" timeOffset="4">1993 9084 0,'-17'0'15,"17"18"1,0-18-16,0 17 16,0-17-16,-18 18 15,18 0 1,0-18-16,0 17 15,0-17-15,-18 36 16,1-19-16,17 1 16,0-1-16,-18 1 15,18 0-15,-18 17 16,1-17-16,17 17 15,-18-35-15,18 18 16,0-1-16,0-17 16,-18 18-16,18-18 15,0 17 1,0-17-16,0 18 15,0 0-15,0-18 32,0 17-32,-17-17 15,17 0-15,0 18 16,0 0-16,0-18 15,-18 0-15,18 17 16,0-17 140,0 0-140,18 0-16,35 0 15,-18 0-15,0 0 16,-17 18-16,17-18 15,-17 0-15,-1 0 16,-17 0-16,18 0 16,-18 0 186,18 0-155,-1 0 0,-17 18-31,18-18-16,-18 0 15,18 0-15,-18 0 94,17 0-94,1 0 15,-18 0-15,18 0 78,-18 0-31,17 0-47,1 0 16,-18 0-16,17 0 15,1 0-15,0 0 16,-18 0-16,17 17 156,-17-17-140,0 18-16,0-1 15,0-17 1,0 18-16,0-18 15,0 18-15,0-1 16,0-17-16,0 18 16,0-18-16,0 18 15,0-18-15,0 17 16,0 1-16,0 0 15,0-18-15,0 35 16,0-35-16,0 35 16,0-35-16,0 18 62,0-18-15,0 17-32,0-17 1,0 18 0,0 0-1,0-18 1,0 17-16,0-17 47,0 18-16,0 0-31,0-18 31,0 17 16,0-17-32</inkml:trace>
  <inkml:trace contextRef="#ctx0" brushRef="#br0" timeOffset="5">1817 9613 0,'0'0'47,"0"0"-32,0 0-15,0 0 16,0 18-1,0-18-15,0 17 16,-18 1-16,18-18 16,0 18-16,0-18 15,0 17-15,-17-17 16,17 18-16,0-18 125,17 0-110,1 0-15,-18 0 16,35 0-16,-17 0 15,-1 0-15,-17 0 16,18 0-16,0 0 16,-1 0-16,1 0 15,-18 0-15,18 0 78,-1 0-78,-17 0 47,18 0-31,-18 0-1,17 0-15,1 0 16,-18 0-16,18 18 171,-18-18-124,0 17-31,0-17-1,0 18 1,0 0 0,0-18-16,0 17 15,0-17-15,0 18 16,0-18-16,0 18 15,0-1-15,0-17 16,0 18-16,0-18 16,0 17-1,0 1 1,0-18-16,-18 18 15</inkml:trace>
  <inkml:trace contextRef="#ctx0" brushRef="#br0" timeOffset="6">1976 9208 0,'17'0'78,"-17"17"-78,18-17 15,-1 18-15,1-1 16,17 19-16,18-19 16,0 36-16,0-17 15,35 16-15,-35-34 16,0 17-16,-18-35 15,-17 18-15,0-18 16,-1 18-16</inkml:trace>
  <inkml:trace contextRef="#ctx0" brushRef="#br0" timeOffset="7">1887 9402 0,'0'0'47,"0"0"-47,18 0 15,-18 0-15,18 0 16,-18 17-16,17-17 15,1 18-15,0-1 16,-18-17-16,0 0 16,17 0-1,1 0 16,-18 18-31,17-18 16,-17 0-16,18 0 16,-18 0 15,18 0-16,-1 0-15,-17 18 16,18-18 62,-18 0-62</inkml:trace>
  <inkml:trace contextRef="#ctx0" brushRef="#br0" timeOffset="8">7461 9313 0,'0'0'46,"0"0"-30,0-17 0,18 17-16,-18 0 15,18 0 1,-18 0-1,0-18-15,17 18 16,-17 0 0,18 0-1,-1 0 1,-17 0-16,18 0 15,-18 0-15,18 0 16,-1 0-16,1 0 16,0 0-16,-1 0 15,-17 0 1,18 0-16,-18 0 15,35 0-15,-17 0 16,-1 0-16,-17 0 16,18 0-16,-18 0 15,18 0 32,-18 0-31,17 0-16,1 0 15,0 0-15,-18 0 16,17 0-16,1 0 15,-18 0-15,0 0 16,18 18 0,-18-18-16,0 0 15,17 17-15,-17-17 16,18 0-16,-18 18 15,0-18-15,0 18 16,18-1-16,-18-17 16,0 18-16,17 17 15,-17-35-15,0 35 16,18-35-16,-18 18 15,0 17-15,0-17 16,0 17-16,0-35 16,0 18-16,0 17 15,0-35-15,0 18 16,0 17-16,0-35 15,0 18-15,0-1 16,0-17-16,0 18 16,0-18-16,0 18 15,0-18-15,0 17 16,0 1-16,0 0 15,0-18-15,0 35 16,-18-35 0,1 18-16,17-1 15,0 1-15,-18-18 16,0 35-16,18-35 15,0 18-15,-17-18 16,17 17-16,-18 1 16,18-18-16,-35 18 15,17-18-15,0 17 16,1-17-16,-1 0 15,0 0-15,1 18 16,-1-18-16,-17 0 16,17 0-16,1 0 15,-36 0-15,35 0 16,0 0-16,18 0 15,-17 0-15,17 0 16,-35 0-16,35 0 16,-18 0-16,-17-18 15,-1 18-15,1-35 16,-18 17-16,18-17 15,17 17-15,-17 1 16,17-1 0,18-17-16,0 35 15,0-18-15,0 1 16,0-1-16,0 0 15,0 1-15,0-1 16,0 0-16,0 1 16,0 17-16,0-18 15,0 18 1,0-18-1,0 1-15,0 17 16,0-18-16,0 18 16,18 0-16,-18-17 15,18 17-15,-18 0 16,17-18-1,1 18 1,-18-18 0,0 18-16,0 0 15,18 0-15,-18-17 16,0 17-16,17 0 15,-17 0-15,0-18 16,0 0 15,18 18-15,-18 0-16,17 0 15,-17-17-15,0 17 16,0 0 140,0-18-156,0 18 31,0-18-15,18 18-1,-18-17 17,0 17-1,0-18 0</inkml:trace>
  <inkml:trace contextRef="#ctx0" brushRef="#br0" timeOffset="9">7638 10072 0,'0'17'62,"0"1"-62,0-18 16,0 18-16,0-18 15,0 17 1,0 1-16,0 0 15,0-1-15,0 1 16,0 35-16,0-18 16,0 0-16,17-17 15,-17 35-15,18-18 16,-18-17-16,0 17 15,0 0-15,18-17 16,-18 17-16,0 1 16,0-19-16,0 1 15,0 17-15,0-35 16,0 18 77</inkml:trace>
  <inkml:trace contextRef="#ctx0" brushRef="#br0" timeOffset="10">7549 10336 0,'0'0'47,"-17"0"-47,17 0 16,-35 0-16,17 0 15,-17-17-15,-1-1 16,-34 0-16,-1 1 15,-17-1-15,17 1 16,-17-19-16,35 19 16,0-1-16,18 18 15,18 0 1</inkml:trace>
  <inkml:trace contextRef="#ctx0" brushRef="#br0" timeOffset="11">7761 10301 0,'0'0'63,"0"0"-63,0 0 15,18 0-15,-1-18 16,1 18-16,17-17 16,1-1-16,-1 1 15,18 17-15,-18 0 16,0-18-16,-17 0 15,17 18-15</inkml:trace>
  <inkml:trace contextRef="#ctx0" brushRef="#br0" timeOffset="12">7638 10795 0,'0'0'15,"0"0"1,-18 0-16,18 18 16,0-18-16,0 17 15,-18 1-15,18 0 16,-17-1-16,17 18 15,0 18-15,0-17 16,-18-1-16,0 0 16,1 18-16,17-18 15,-18 1-15,1-19 16,-1 36-16,18-35 15,0 0-15,-18 17 16,18-35-16,-17 17 16,17 1-1,0-18 94,0 18-93</inkml:trace>
  <inkml:trace contextRef="#ctx0" brushRef="#br0" timeOffset="13">7691 10795 0,'0'0'47,"0"18"-47,0-18 16,17 17-16,-17 36 15,18-18-15,-18 1 16,17 17-16,-17 0 16,18 17-16,-18 1 15,18-1-15,-18-17 16,0 0-16,0 0 15,0 0-15,0-35 16,0-1-16,17 1 172</inkml:trace>
  <inkml:trace contextRef="#ctx0" brushRef="#br0" timeOffset="14">16880 9984 0,'-17'0'15,"17"0"1,-18 0-16,1 0 16,17 0-16,0 17 15,-18-17-15,18 0 16,0 0-16,-18 0 15,1 0-15,17 18 16,-18-18-16,-17 0 16,-18 18-16,17-1 15,1 1-15,0-18 16,17 17-16,-17 1 16,35-18-16,-18 18 15,1-1-15,-1-17 16,18 18-16,-18-18 15,18 18-15,0-1 16,0-17-16,0 18 16,0-18-16,0 18 15,0-18-15,-17 35 16,17-35-1,0 35-15,0-17 16,0-1-16,0 1 16,0 0-16,0-1 15,0-17-15,0 18 16,0-18-16,0 18 15,0-18-15,0 17 16,0 1-16,0 0 16,0-18-16,0 35 15,0-35-15,0 17 16,0-17-16,0 18 15,0 0-15,0-18 32,0 0-17,17 0 1,-17 17-1,0-17-15,18 0 16,-18 0-16,18 18 16,-1 0-16,-17-18 15,36 0-15,-19 17 16,1 1-1,17-18-15,-17 18 16,17-1-16,-35-17 16,18 0-16,-1 0 15,1 0-15,17 0 16,-35 0-16,18 0 15,-18 0-15,18 0 16,-1 0-16,-17 0 16,18 0-1,-18 0-15,18 18 16,-18-18-16,35 0 15,-18 0-15,1 0 16,-18 0-16,18 0 62,-18 0-62,35 0 16,-35 0-16,18 0 16,17-18-16,-17 1 15,-1 17-15,-17-18 16,18 18-1,-1-18-15,-17 1 16,0-1-16,18 0 16,0-35-16,-18 36 15,0-1-15,0 1 16,0-1-16,0 0 15,0-17-15,0 35 16,0-18-16,0 1 16,0-1-16,0 18 15,0-18-15,0-17 16,0 35-16,0-18 15,0 18 17,0-17-17,0 17 1,-18-18-1,0 18-15,18 0 16,0 0-16,-17-17 16,17 17-16,0-18 15,-18 18-15,18-18 16,0 18-1,-17 0 1,17-17-16,0 17 16,0 0-16,-18-18 15,18 18-15,0 0 16,0-18-16,-18 1 15,18 17 17,-17-18 124,-1 18-78,18 0-78,-18 0 15,18 0-15,0-18 16,-17 18-16,-1 0 15,18 0 95,-18 0-95,18 0 1,-17 0 280,17 0-218,-18 0-78,1 0 16,17 0-1</inkml:trace>
  <inkml:trace contextRef="#ctx0" brushRef="#br0" timeOffset="15">17163 10460 0,'0'0'109,"0"0"-109,35 0 15,0 0-15,0 0 16,1 0-16,34 0 16,-17 0-16,18 18 15,17-1-15,-17 1 16,34-1-16,-34-17 15,-36 0-15,0 18 16,1-18-16,-36 0 47,17 0-47,1 0 15,0 0-15,-18 0 16,35 0-16,-35 0 109,18 0-109,17 18 16,-17-18-16,17 17 15,0 1-15</inkml:trace>
  <inkml:trace contextRef="#ctx0" brushRef="#br0" timeOffset="16">17551 10495 0,'0'-17'109,"0"-1"-78,0 18-15,0-18-1,0 18 1,0-17 0,-18 17-16,18-18 15,0 0-15,-18 18 16,18 0-16,0-17 15,0 17-15,0-18 16,0 0-16,-17 18 16,17 0-16,0-17 15,0 17 1,-18 0 93,18 0-93,0 0-16,-17 0 15,-1 0-15,18 0 16,-18 0-16,1-18 15,-1 18-15,0 0 16,1-18-16,-1 18 16,18 0-16,-18 0 15,1 0 1,17 0-1,-18 0-15,-17 0 16,35 0-16,-18 0 78,1 0-62,17 0-1</inkml:trace>
  <inkml:trace contextRef="#ctx0" brushRef="#br0" timeOffset="17">17639 10619 0,'0'0'47,"0"17"-31,0-17-16,35 0 15,0 36-15,1-1 16,17-35-16,-18 35 16,0-17-16,0-1 15,1 1-15,-19-18 16,19 18-1,-36-1-15,17-17 94,-17 0-94,18 0 16</inkml:trace>
  <inkml:trace contextRef="#ctx0" brushRef="#br0" timeOffset="18">18115 10672 0,'18'0'15,"-18"-18"-15,0 18 47,17 0-31,-17-18-16,18 18 15,0-17-15,17 17 16,-17-18-16,17 0 16,18-17-16,-18 0 15,0 17-15,18-17 16,-17 17-16,-1 1 15,0-1-15,-17 18 16,-1 0-16</inkml:trace>
  <inkml:trace contextRef="#ctx0" brushRef="#br0" timeOffset="19">18098 10636 0,'17'0'0,"1"0"47,-18 0-47,35 18 15,0-18-15,18 0 16,0 18-16,-18-18 16,1 17-16,-19-17 15,36 0-15,-17 18 16,16-1-16,1 19 15,18-36-15,-18 35 16,0-17-16,35 17 16,-53-35-16,1 18 15</inkml:trace>
  <inkml:trace contextRef="#ctx0" brushRef="#br0" timeOffset="20">18556 10389 0,'0'0'109,"0"0"-109,0 0 15,18 0-15,-18-17 16,17-1-16,1 18 16,-18 0-16,0-18 15,18 18-15,-18-17 16,17 17-16,-17 0 47,18 0-32,-18-18 1,0 18-16,18-18 15,-18 18-15,17-17 16,-17 17 0,0 0-16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8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48.44904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9-09-05T12:14:25.222"/>
    </inkml:context>
    <inkml:brush xml:id="br0">
      <inkml:brushProperty name="width" value="0.05292" units="cm"/>
      <inkml:brushProperty name="height" value="0.05292" units="cm"/>
    </inkml:brush>
    <inkml:brush xml:id="br1">
      <inkml:brushProperty name="width" value="0.05292" units="cm"/>
      <inkml:brushProperty name="height" value="0.05292" units="cm"/>
      <inkml:brushProperty name="color" value="#0070C0"/>
    </inkml:brush>
    <inkml:brush xml:id="br2">
      <inkml:brushProperty name="width" value="0.05292" units="cm"/>
      <inkml:brushProperty name="height" value="0.05292" units="cm"/>
      <inkml:brushProperty name="color" value="#FFC000"/>
    </inkml:brush>
  </inkml:definitions>
  <inkml:trace contextRef="#ctx0" brushRef="#br0">741 10019 0,'0'0'0,"0"18"63,0-18-63,0 0 15,17 0-15,36 0 16,0 17-16,18-17 16,-18 0-16,17 18 15,-17-18-15,18 0 16,17 17-16,-35-17 15,17 0-15,1 0 16,35 0-16,-18 0 16,18 0-16,-36 0 15,36 0-15,-18 0 16,36 0-16,-18 0 15,-36 0 1,1 18-16,-1 0 16,-17-18-16,-17 0 15,17 17-15,-1-17 16,1 0-16,0 18 15,0-18-15,18 0 16,70 18-16,-35-18 16,17 0-16,-17 17 15,18 1-15,-1 0 16,18-1-16,-35 1 15,-18-1-15,-35-17 16,-18 0-16,1 0 16,-1 18-16,0-18 15,0 18-15,18-1 16,0-17-16,18 36 15,-18-1-15,35 0 16,-18-17-16,36 17 16,0 0-16,-18 1 15,-17-1-15,17 0 16,0 1-1,-35-19-15,0 18 16,18 1-16,-36-19 16,18 19-16,17-1 15,-17 0-15,18 0 16,-18 1-16,-18-19 15,18 19-15,-18-19 16,1 1-16,16 17 16,19-17-16,17 35 15,18-18-15,-35 0 16,34 1-16,-34-19 15,17 19-15,-35-19 16,35-17-16,-35 35 16,0-17-16,18 17 15,-36-35-15,18 18 16,0 0-16,0-1 15,17 1-15,-17-18 16,0 18-16,0-1 16,0 18-16,0-35 15,-18 18-15,-17 0 16,35-1-1,-18-17-15,0 36 16,18-19-16,18 1 16,-18 17-16,0 1 15,35-19-15,-18 1 16,19 17-16,-37-17 15,1-1-15,18 19 16,-18-36-16,-18 17 16,53 19-16,-17-1 15,17 0-15,18 0 16,0 18-16,70 0 15,-52-18-15,-19 1 16,-34-1-16,0-17 16,-36-1-16,0 1 15,0 0-15,36-1 16,-18 19-16,35-1 15,-17-18-15,34 1 16,1 0-16,-18-1 16,18 1-16,-18-18 15,-17 18-15,-18-1 16,0 1-1,35 0-15,-17-18 16,-18 17-16,-1-17 16,19 0-16,17 0 15,-17 18-15,-1-18 16,54 17-16,-36 1 15,18 0-15,-36-18 16,1 17-16,35-17 16,-36 18-16,36-18 15,-35 0-15,-1 18 16,18-18-16,-17 0 15,-18 17-15,0-17 16,35 18-16,-17-18 16,-1 18-16,18-1 15,-17 1-15,-1-18 16,19 0-16,-1 17 15,18-17-15,-1 0 16,-34 18-16,35-18 16,-18 18-16,18-18 15,0 17-15,-18 1 16,0 0-1,-17-18-15,17 17 16,0 1-16,0 0 16,-17-1-16,-18 1 15,35 0-15,-18-1 16,19 1-16,-19-18 15,36 0-15,18 17 16,-1 1-16,-17 0 16,-36-1-16,-17-17 15,18 18-15,-1 0 16,-17-1-16,0-17 15,18 18-15,-1-18 16,19 0-16,-37 0 16,19 18-16,0-18 15,17 17-15,0-17 16,0 18-16,-17-1 15,-1-17-15,18 18 16,-17-18-16,0 18 16,17-1-16,-18-17 15,1 0-15,17 18 16,-17-18-1,-1 0-15,-17 0 16,18 0-16,-18 18 16,0-18-16,17 17 15,1 1-15,17-18 16,-18 18-16,1-1 15,70 1-15,-53-18 16,18 0-16,-35 17 16,17-17-16,-18 0 15,1 0-15,-1 18 16,19-18-16,-19 18 15,18-1-15,-17-17 16,35 18-16,-36-18 16,1 0-16,-1 18 15,19-18-15,-19 17 16,36 1-16,-35-18 15,34 0-15,-16 18 16,34-18-16,1 0 16,-1 17-16,-17-17 15,-18 0-15,18 0 16,-36 18-1,1-18-15,17 18 16,-35-18-16,0 0 16,0 0-16,18 17 15,-19-17-15,19 0 16,-18 18-16,-18-18 15,0 0-15,1 0 16,-1 17-16,18-17 16,-18 0-16,1 0 15,-1 0-15,0 0 16,18 18-16,0 0 15,0-18-15,17 17 16,19 1-16,-37 0 16,19-18-16,-18 0 15,0 0-15,17 0 16,19 17-16,-19-17 15,18 18-15,-17 0 16,-18-1-16,17-17 16,19 18-16,-19-1 15,18-17-15,-35 0 16,0 18-1,0-18-15,18 18 16,-1-18-16,-17 0 16,18 17-16,-18-17 15,0 18-15,-1-18 16,-16 0-16,-1 0 15,0 0-15,18 0 16,-35 0-16,-1 0 16,19 0-16,-19 0 15,1 0-15,0 0 16,17 0-16,-17 0 15,17 0-15,0 0 16,36 0-16,-18 0 16,-18 0-16,0 0 15,0 0-15,1 0 16,17 0-16,-18 0 15,0 0-15,0 0 16,1 0-16,-1 0 16,0 0-16,-17 0 15,17 0-15,0 0 16,-17 0-1,0 0-15,-1 0 16,1 0-16,0 0 16,17 0-16,-17 0 15,-1 0-15,19 0 16,-1 0-16,0 0 15,0 0-15,-17 0 16,17 0-16,-17 0 16,0 0-16,17 0 15,-18 0-15,1 0 16,17 0-16,-17 0 15,0 0-15,17 0 16,-35 0-16,18 0 16,-18 0 15,17 0-31,-17 0 15,18 0-15,-1 0 16,-17 0 46,18 0-46,-18 0-16,35 0 16,-35 0-16,18 18 15,-18-18-15,18 0 16,-1 0-1,-17 0 1,18 0-16,-18 0 16,35 0-16,1 0 15,-1 17-15,-18-17 16,19 0-16,-36 0 15,17 0 1,-17 18-16,18-18 16,-18 0-16,18 0 15,-1 0-15,19 0 16,-36 0-16,17 0 15,1 0 63,-1 0-78,-17 0 16,18 0-16,17 0 16,-35 0-16,18 0 15,0 0 63</inkml:trace>
  <inkml:trace contextRef="#ctx0" brushRef="#br1" timeOffset="1">5362 10724 0,'0'0'78,"0"0"-62,0-17-16,18 17 15,0 0-15,34 0 16,-16 0-16,17 0 15,-18 0-15,0 0 16,0 0-16,1 0 16,-19 0-16,19 0 15,-1 0-15,0 0 16,-17 0-16,-1 0 15,19 0-15,-19 0 16,1 0 46,0 0-62,-18 0 16,35 0-16,0 0 16,1 0-16,-1 0 15,0 0 1,18 0-16,-18 0 15,1 0-15,-1 0 16,0 0-16,18 0 16,-18 0-16,-17 0 15,17 0-15,0 0 16,-17 0-16,0 0 15,-1 0 48,1 0-48,0 0-15,-18 0 16,17 0-16,19-18 16,-19 18-16,1 0 15,35-17-15,-36 17 16,1-18-16,17 18 15,-17 0-15,0-18 16,-18 18-16,17 0 16,-17 0-16,18 0 15,0 0 1,-18 0-16,17 0 15,-17 0 1,18-17 0,-1 17-16,1 0 15,0 0-15,-1 0 16,1 0-16,0 0 62,-18 0-62,17 0 16,-17 0-16,36 0 15,-19 0-15,1 0 16,-1 0-16,1 0 16,0 0-16,-18 0 15,17 0-15,1 0 16,0 0-16,-1 0 15,1 0-15,0 0 16,-1 0-16,1 0 16,17 0-16,-35 0 15,18 0 1,-18 0-16,17 0 15,1 0 1,-18 0 0,18 0-16,-1 0 15,1 0-15,0 0 16,-1 17-16,1-17 15,-18 0-15,18 0 16,-1 0-16,-17 0 16,18 0-16,-1 0 15,19 0-15,-1 0 16,0 0-16,18 0 15,-18 0-15,-17 0 16,17 0-16,1 0 16,-19 0-16,19 0 15,-1 0-15,18 0 16,-18 0-16,-17 0 15,17 18-15,0-18 16,36 18-16,-36-18 16,0 0-16,1 0 15,-1 0 1,0 0-16,-17 0 15,-1 0-15,19 0 16,-36 0-16,17 0 16,1 17-16,0-17 15,-18 0-15,17 0 16,-17 0-16,18 0 15,0 0-15,-18 0 16,17 0-16,1 18 16,0-18-16,-1 17 15,1 1-15,-1-18 16,1 18-16,0-18 15,-18 17-15,17-17 16,1 0 15,-18 0-15,18 0-16,-18 0 15,35 0-15,-17 0 16,17 0-16,18 0 16,-18-17-16,18 17 15,-35 0 1,-1 0-16,18-18 15,-17 18-15,0 0 16,-18 0-16,17 0 16,-17 0-16,36 0 15,-19 0-15,1 0 16,17 0-16,18 0 15,-35 0-15,-1 0 16,1 0-16,17 0 16,-17 0-16,0 0 15,17 0-15,-17 0 16,-1 0-16,18 0 15,-17 0-15,0 0 16,17 0-16,0 0 16,-17 0-16,0 0 15,17 0-15,-35 0 16,17 0-16,1 0 15,0 0-15,17 0 16,0 0-16,1 0 16,17 0-16,-18 0 15,18 0 1,-18 0-16,-17 0 15,17 0-15,-17 0 16,-18 18-16,17-18 16,1 0-16,-18 0 15,17 17-15,36-17 16,-35 0-16,0 18 15,17-18-15,-35 0 16,18 0 15,-18 0-15,17 18-16,1-18 15,17 0-15,18 0 16,-18 0-16,1 17 16,-1-17-16,0 0 15,-17 0-15,-1 0 16,19 0-16,17 0 15,-18 0-15,18 0 16,0 0-16,0 0 16,0 0-16,-1-17 15,37-1 1,-36 0-16,-18 1 15,0 17-15,0 0 16,-17 0-16,0 0 16,-1 0-1,1 0 1,-18 0-1,18 0 1,-18 0-16,17 0 16,1 0-16,0 0 15,17 0-15,-18 0 16,1 0-16,17 0 15,-17 0-15,17 0 16,1 0-16,16 0 16,1-18-16,0 0 15,0 1-15,35-18 16,-35 35-16,0-36 15,0 19-15,0-1 16,-18 18-16,-17 0 16,17 0-16,-17 0 15,17 0 1,0 0-16,1 0 15,17 0-15,-18 0 16,0 0-16,1 0 16,-1 0-16,0 0 15,0 0-15,-17 0 16,17 0-16,1 0 15,-1 18-15,0-18 16,0 0-16,1 0 16,-19 0-16,1 0 15,17 0-15,-17 0 16,-1 17-16,-17-17 15,18 0-15,17 18 16,-35-18-16,36 0 16,-19 0-16,19 18 15,-1-18-15,18 0 16,-18 0-16,0 0 15,1 0-15,-1 0 16,0 0-16,0 0 16,1 0-16,-1 17 15,18-17 1,-18 0-16,18 18 15,-18-18-15,18 0 16,0 0-16,0 17 16,0-17-16,0 18 15,-18-18-15,1 0 16,-1 0-16,18 0 15,0 18-15,35-18 16,-18 0-16,1 0 16,17 0-16,-17 0 15,-18-18-15,0 0 16,17 18-16,-17 0 15,18 0-15,-19 0 16,1 0-16,0 0 16,0 0-16,-35 0 15,17 0-15,0 0 16,-17 0-16,0 0 15,17 0-15,18 0 16,-18 0-16,0 0 16,1 18-16,17 0 15,0-18 1,-1 0-16,-16 0 15,-1 17-15,0 1 16,1-18-16,-1 0 16,0 18-16,0-18 15,18 0-15,18 0 16,-1 0-16,-17 0 15,0 0-15,18 0 16,-18 0-16,-18 0 16,36-18-16,-18-17 15,-1 17-15,1-17 16,-17 17-16,-1-17 15,18 17-15,-18-17 16,18 0-16,-18 17 16,18 0-16,-35 1 15,17 17-15,18-18 16,-18 18-16,-17 0 15,17 0-15,1 0 16,16 0-16,-16 0 16,-1 0-16,0 0 15,1 0-15,-1 0 16,0 0-16,0 0 15,1 18 1,17-18-16,-1 0 16,1 17-16,-17 1 15,17-18-15,0 0 16,-18 0-16,18 18 15,-18-18-15,0 17 16,1-17-16,16 0 16,1 0-16,-17 18 15,-1-18-15,0 0 16,0 0-16,18 0 15,-17 0-15,17 0 16,0 0-16,-1 0 16,1 0-16,0 0 15,0 0-15,0 0 16,0 0-16,0 0 15,0 0-15,35 0 16,-35 0-16,18 0 16,-1 0-16,18 0 15,0 0 1,1 0-16,16 0 15,-34 0-15,53 0 16,-36 0-16,0 0 16,-18 0-16,1 0 15,-18 0-15,0 0 16,35 0-16,-17 0 15,-1 0-15,1 0 16,35 0-16,-18 0 16,18 0-16,35 18 15,-18-18-15,1 0 16,-19 0-16,-16 0 15,34 0-15,-17 0 16,-35 0-16,34 17 16,-16-17-16,34 18 15,0 0-15,-17-1 16,-35-17-16,17 18 15,-17-1-15,-18 1 16,-1-18-16,1 18 16,0-1-16,0-17 15,0 0-15,0 18 16,0-18-1,0 18-15,0-18 16,0 0-16,0 0 16,-18 0-16,0 0 15,-17 0-15,-1 0 16,-17 0-16,18 0 15,0 0 1,-1 0-16,1 0 16,17 17-16,18-17 15,-35 0-15,-1 0 16,1 0-16,0 0 15,-1 0-15,36 18 16,0-18-16,35 18 16,1-18-16,16 0 15,1 0-15,-35 0 16,-18 0-16,-18 0 15,0 0-15,1 0 16,-1 0-16,0 0 16,0 0-16,-17 0 15,17 0-15,-17 0 16,0-18-16,17 18 15,-35 0 1,18 0 31,-1 0-47,1 0 15,17 0-15,18 0 16,0 0-16,0 0 16,-36 0-16,19 0 15,-36 0 16,17 0-15,1 18-16,0-18 16,-1 17-16,1-17 15,17 0-15,1 0 63,-36 0-63,17 0 15,1 0-15,-1 0 16,1 0-1</inkml:trace>
  <inkml:trace contextRef="#ctx0" brushRef="#br2" timeOffset="2">2699 10054 0,'-18'0'31,"18"0"-16,0 0-15,18 0 16,35 0-16,17 0 16,-17 0-16,0 0 15,0 0-15,-18 0 16,1 0-16,-19 0 15,18 0-15,-35 0 94,0 0-78,-35 0-16,0 0 15,0 0-15,17 0 16,-17 0-1,17 0-15,0 0 16,1 0 62,17 0-78,0 0 16,17 0-16,1 0 15,35-17-15,0 17 16,0 0-16,0 0 15,-18 0-15,-35-18 16,0 18 31,0 0-32,-18 0-15,1 0 16,-19 0-16,19 0 16,-1 0-16,-17 0 15,35-18 94,18 18-93,-1 0-16,1 0 16,-1 0-16,-17 0 46,0 0-30,-52 0-16,16 0 16,1 0-16,0 0 15,-1 0-15,1 0 16,35 0 31,0 0-32,18 0-15,17 0 16,0 0-1,1 0-15,-1 0 16,18 0-16,-18 0 16,-17 0-16,-1-17 15,1 17 32,-18 0-47,0 0 16,-18 0-16,1 0 15,-1 0-15,-17 0 16,-18 0-16,35 0 16,1 0-16,-1 0 15,18 0-15,-35 0 16,17 0-16,18 0 62,0 0-62,18 0 16,-18 0-16,0 0 62,0 0-62,0 0 16,-36 0-16,19 0 15,17 0-15,-18 0 16,1 0-16,-1 0 16,0 0-16,1 0 15,17 0 110,-18 0-109,0 0-16,-17 0 15,-18 0-15,35 17 16,1-17 31,17 0-32,17 0-15,-17 0 16,18 0-16,17 0 15,-17 0-15,0 0 16,17 0-16,-17 0 16,-1 0-16,19 0 15,-19 0-15,1 0 16,-18 0-16,17 0 15,-17 0-15,18 0 16,-18 0-16,0 0 94,0 0-94,0 0 15,-18 0-15,1 0 16,-1 0-16,18 0 93,0 0-93,35 0 16,-17 0-16,0 0 16,-1 0 77,-17 0-77,0 0-1,-35-17-15,17 17 16,1 0-16,-1 0 16,18-18 62,18 18-63,17 0-15,18 0 16,0-18-16,-18 1 15,0-1-15,1 18 16,-36 0-16,0 0 62,0 0-62,-18 0 16,-17 0-16,-18 0 16,18 0-16,17 0 15,0 0-15,-17 0 16,35 0-16,0-18 140,0 18-140,0 0 63,0 0-63,-18 0 15,1 0-15,-1 0 16,18 0-16,0 0 109,0 0-109,35-17 16,-35 17-16,18 0 15,0 0-15,-18 0 16,17 0-16,-17 0 78,0 0-63,-35 0-15,-18 0 16,0 0-16,0 0 16,18 0-16,17 0 15,1 0 32,17 0-31,0 0-16,35 0 15,0 0-15,18 0 16,18 0-16,-1 0 15,-17 0-15,-17 0 16,-1 0-16,-35 0 94,0 0-94,0 0 15,-18 0-15,1 0 16,-36 0-16,17 0 15,19 0-15,-1 0 78,18 0-62,0 0 0,0 0-1,18 0-15,-1 0 16,-17 0-16,18 0 15,-18 0-15,0-18 94,0 18-78,0 0-1,0-17-15,-18 17 16,1 0-16,-1 0 15,18 0 32,0 0-31,0-18-16,0 18 15,18 0-15,-1 0 16,-17 0-16,18-18 16,-18 18-16,0-17 15,0 17 126,0 0-126,0 0-15,-18 0 16,1 0-16,-1 0 62,18-18 1</inkml:trace>
  <inkml:trace contextRef="#ctx0" brushRef="#br0" timeOffset="3">2117 8573 0,'0'-18'32,"17"18"-17,-17 0 1,18 0-16,-18 0 15,18 0 1,-1 0 31,-17 0-32,18 0-15,-18 0 16,17 0-16,1 0 16,-18 18-16,18-18 15,-18 0-15,0 0 16,0 17 15,0 1-15,17-18-1,-17 17-15,18-17 16,0 18-1,-18 0-15,0-18 16,17 0-16,-17 17 16,0-17-16,0 0 15,0 18 16,0-18-15,0 18 0,0-1-16,0-17 15,0 18-15,18-18 16,-18 18-1,0-18 1,0 17 0,0 1-1,0-18-15,0 17 16,0-17-16,0 18 15,0 0 1,0-18-16,0 17 16,0-17-16,0 36 15,0-36-15,0 17 16,0-17-16,-18 18 15,18-18-15,0 18 16,-17-1-16,-1-17 16,18 18-16,-18-18 15,18 0 1,0 17-16,-17 1 15,17-18-15,-18 0 16,0 18-16,18-18 16,0 0-16,-17 0 15,17 17-15,-18-17 16,1 0-16,17 0 15,-18 0-15,0 0 16,18 0-16,-17 0 16,-1 0-16,18 0 15,-18 0-15,18 0 16,-17 0-1,-1 0-15,18 0 16,-18 0-16,18 0 16,-35 0-16,35 0 15,-17 0-15,-19 0 16,19 0-16,-1 0 15,18 0 1,-18 0 31,18 0-47,-17 0 15,17 0-15,-18-17 16,0 17-16,1-18 16,-1 0-16,18 18 15,-17-17-15,17 17 16,-18-18-16,18 1 15,0 17 1,0-18 0,0 18-16,0-18 15,0 1-15,0-1 16,0 0-16,0 1 15,0-19-15,0 19 16,0 17-16,0-35 16,0 35-16,0-36 15,0 36-15,0-17 16,0 17-16,0-18 15,18 18-15,-18-18 16,17 1-16,1 17 16,-18 0-16,17 0 15,-17-18 1,18 18 77,0 0-93,-18-18 16,17 18-16,1-17 16,0 17-16,-18 0 15,17 0-15,-17 0 16,36 0-16,-36-18 15,17 18-15</inkml:trace>
  <inkml:trace contextRef="#ctx0" brushRef="#br0" timeOffset="4">1993 9084 0,'-17'0'15,"17"18"1,0-18-16,0 17 16,0-17-16,-18 18 15,18 0 1,0-18-16,0 17 15,0-17-15,-18 36 16,1-19-16,17 1 16,0-1-16,-18 1 15,18 0-15,-18 17 16,1-17-16,17 17 15,-18-35-15,18 18 16,0-1-16,0-17 16,-18 18-16,18-18 15,0 17 1,0-17-16,0 18 15,0 0-15,0-18 32,0 17-32,-17-17 15,17 0-15,0 18 16,0 0-16,0-18 15,-18 0-15,18 17 16,0-17 140,0 0-140,18 0-16,35 0 15,-18 0-15,0 0 16,-17 18-16,17-18 15,-17 0-15,-1 0 16,-17 0-16,18 0 16,-18 0 186,18 0-155,-1 0 0,-17 18-31,18-18-16,-18 0 15,18 0-15,-18 0 94,17 0-94,1 0 15,-18 0-15,18 0 78,-18 0-31,17 0-47,1 0 16,-18 0-16,17 0 15,1 0-15,0 0 16,-18 0-16,17 17 156,-17-17-140,0 18-16,0-1 15,0-17 1,0 18-16,0-18 15,0 18-15,0-1 16,0-17-16,0 18 16,0-18-16,0 18 15,0-18-15,0 17 16,0 1-16,0 0 15,0-18-15,0 35 16,0-35-16,0 35 16,0-35-16,0 18 62,0-18-15,0 17-32,0-17 1,0 18 0,0 0-1,0-18 1,0 17-16,0-17 47,0 18-16,0 0-31,0-18 31,0 17 16,0-17-32</inkml:trace>
  <inkml:trace contextRef="#ctx0" brushRef="#br0" timeOffset="5">1817 9613 0,'0'0'47,"0"0"-32,0 0-15,0 0 16,0 18-1,0-18-15,0 17 16,-18 1-16,18-18 16,0 18-16,0-18 15,0 17-15,-17-17 16,17 18-16,0-18 125,17 0-110,1 0-15,-18 0 16,35 0-16,-17 0 15,-1 0-15,-17 0 16,18 0-16,0 0 16,-1 0-16,1 0 15,-18 0-15,18 0 78,-1 0-78,-17 0 47,18 0-31,-18 0-1,17 0-15,1 0 16,-18 0-16,18 18 171,-18-18-124,0 17-31,0-17-1,0 18 1,0 0 0,0-18-16,0 17 15,0-17-15,0 18 16,0-18-16,0 18 15,0-1-15,0-17 16,0 18-16,0-18 16,0 17-1,0 1 1,0-18-16,-18 18 15</inkml:trace>
  <inkml:trace contextRef="#ctx0" brushRef="#br0" timeOffset="6">1976 9208 0,'17'0'78,"-17"17"-78,18-17 15,-1 18-15,1-1 16,17 19-16,18-19 16,0 36-16,0-17 15,35 16-15,-35-34 16,0 17-16,-18-35 15,-17 18-15,0-18 16,-1 18-16</inkml:trace>
  <inkml:trace contextRef="#ctx0" brushRef="#br0" timeOffset="7">1887 9402 0,'0'0'47,"0"0"-47,18 0 15,-18 0-15,18 0 16,-18 17-16,17-17 15,1 18-15,0-1 16,-18-17-16,0 0 16,17 0-1,1 0 16,-18 18-31,17-18 16,-17 0-16,18 0 16,-18 0 15,18 0-16,-1 0-15,-17 18 16,18-18 62,-18 0-62</inkml:trace>
  <inkml:trace contextRef="#ctx0" brushRef="#br0" timeOffset="8">7461 9313 0,'0'0'46,"0"0"-30,0-17 0,18 17-16,-18 0 15,18 0 1,-18 0-1,0-18-15,17 18 16,-17 0 0,18 0-1,-1 0 1,-17 0-16,18 0 15,-18 0-15,18 0 16,-1 0-16,1 0 16,0 0-16,-1 0 15,-17 0 1,18 0-16,-18 0 15,35 0-15,-17 0 16,-1 0-16,-17 0 16,18 0-16,-18 0 15,18 0 32,-18 0-31,17 0-16,1 0 15,0 0-15,-18 0 16,17 0-16,1 0 15,-18 0-15,0 0 16,18 18 0,-18-18-16,0 0 15,17 17-15,-17-17 16,18 0-16,-18 18 15,0-18-15,0 18 16,18-1-16,-18-17 16,0 18-16,17 17 15,-17-35-15,0 35 16,18-35-16,-18 18 15,0 17-15,0-17 16,0 17-16,0-35 16,0 18-16,0 17 15,0-35-15,0 18 16,0 17-16,0-35 15,0 18-15,0-1 16,0-17-16,0 18 16,0-18-16,0 18 15,0-18-15,0 17 16,0 1-16,0 0 15,0-18-15,0 35 16,-18-35 0,1 18-16,17-1 15,0 1-15,-18-18 16,0 35-16,18-35 15,0 18-15,-17-18 16,17 17-16,-18 1 16,18-18-16,-35 18 15,17-18-15,0 17 16,1-17-16,-1 0 15,0 0-15,1 18 16,-1-18-16,-17 0 16,17 0-16,1 0 15,-36 0-15,35 0 16,0 0-16,18 0 15,-17 0-15,17 0 16,-35 0-16,35 0 16,-18 0-16,-17-18 15,-1 18-15,1-35 16,-18 17-16,18-17 15,17 17-15,-17 1 16,17-1 0,18-17-16,0 35 15,0-18-15,0 1 16,0-1-16,0 0 15,0 1-15,0-1 16,0 0-16,0 1 16,0 17-16,0-18 15,0 18 1,0-18-1,0 1-15,0 17 16,0-18-16,0 18 16,18 0-16,-18-17 15,18 17-15,-18 0 16,17-18-1,1 18 1,-18-18 0,0 18-16,0 0 15,18 0-15,-18-17 16,0 17-16,17 0 15,-17 0-15,0-18 16,0 0 15,18 18-15,-18 0-16,17 0 15,-17-17-15,0 17 16,0 0 140,0-18-156,0 18 31,0-18-15,18 18-1,-18-17 17,0 17-1,0-18 0</inkml:trace>
  <inkml:trace contextRef="#ctx0" brushRef="#br0" timeOffset="9">7638 10072 0,'0'17'62,"0"1"-62,0-18 16,0 18-16,0-18 15,0 17 1,0 1-16,0 0 15,0-1-15,0 1 16,0 35-16,0-18 16,0 0-16,17-17 15,-17 35-15,18-18 16,-18-17-16,0 17 15,0 0-15,18-17 16,-18 17-16,0 1 16,0-19-16,0 1 15,0 17-15,0-35 16,0 18 77</inkml:trace>
  <inkml:trace contextRef="#ctx0" brushRef="#br0" timeOffset="10">7549 10336 0,'0'0'47,"-17"0"-47,17 0 16,-35 0-16,17 0 15,-17-17-15,-1-1 16,-34 0-16,-1 1 15,-17-1-15,17 1 16,-17-19-16,35 19 16,0-1-16,18 18 15,18 0 1</inkml:trace>
  <inkml:trace contextRef="#ctx0" brushRef="#br0" timeOffset="11">7761 10301 0,'0'0'63,"0"0"-63,0 0 15,18 0-15,-1-18 16,1 18-16,17-17 16,1-1-16,-1 1 15,18 17-15,-18 0 16,0-18-16,-17 0 15,17 18-15</inkml:trace>
  <inkml:trace contextRef="#ctx0" brushRef="#br0" timeOffset="12">7638 10795 0,'0'0'15,"0"0"1,-18 0-16,18 18 16,0-18-16,0 17 15,-18 1-15,18 0 16,-17-1-16,17 18 15,0 18-15,0-17 16,-18-1-16,0 0 16,1 18-16,17-18 15,-18 1-15,1-19 16,-1 36-16,18-35 15,0 0-15,-18 17 16,18-35-16,-17 17 16,17 1-1,0-18 94,0 18-93</inkml:trace>
  <inkml:trace contextRef="#ctx0" brushRef="#br0" timeOffset="13">7691 10795 0,'0'0'47,"0"18"-47,0-18 16,17 17-16,-17 36 15,18-18-15,-18 1 16,17 17-16,-17 0 16,18 17-16,-18 1 15,18-1-15,-18-17 16,0 0-16,0 0 15,0 0-15,0-35 16,0-1-16,17 1 172</inkml:trace>
  <inkml:trace contextRef="#ctx0" brushRef="#br0" timeOffset="14">16880 9984 0,'-17'0'15,"17"0"1,-18 0-16,1 0 16,17 0-16,0 17 15,-18-17-15,18 0 16,0 0-16,-18 0 15,1 0-15,17 18 16,-18-18-16,-17 0 16,-18 18-16,17-1 15,1 1-15,0-18 16,17 17-16,-17 1 16,35-18-16,-18 18 15,1-1-15,-1-17 16,18 18-16,-18-18 15,18 18-15,0-1 16,0-17-16,0 18 16,0-18-16,0 18 15,0-18-15,-17 35 16,17-35-1,0 35-15,0-17 16,0-1-16,0 1 16,0 0-16,0-1 15,0-17-15,0 18 16,0-18-16,0 18 15,0-18-15,0 17 16,0 1-16,0 0 16,0-18-16,0 35 15,0-35-15,0 17 16,0-17-16,0 18 15,0 0-15,0-18 32,0 0-17,17 0 1,-17 17-1,0-17-15,18 0 16,-18 0-16,18 18 16,-1 0-16,-17-18 15,36 0-15,-19 17 16,1 1-1,17-18-15,-17 18 16,17-1-16,-35-17 16,18 0-16,-1 0 15,1 0-15,17 0 16,-35 0-16,18 0 15,-18 0-15,18 0 16,-1 0-16,-17 0 16,18 0-1,-18 0-15,18 18 16,-18-18-16,35 0 15,-18 0-15,1 0 16,-18 0-16,18 0 62,-18 0-62,35 0 16,-35 0-16,18 0 16,17-18-16,-17 1 15,-1 17-15,-17-18 16,18 18-1,-1-18-15,-17 1 16,0-1-16,18 0 16,0-35-16,-18 36 15,0-1-15,0 1 16,0-1-16,0 0 15,0-17-15,0 35 16,0-18-16,0 1 16,0-1-16,0 18 15,0-18-15,0-17 16,0 35-16,0-18 15,0 18 17,0-17-17,0 17 1,-18-18-1,0 18-15,18 0 16,0 0-16,-17-17 16,17 17-16,0-18 15,-18 18-15,18-18 16,0 18-1,-17 0 1,17-17-16,0 17 16,0 0-16,-18-18 15,18 18-15,0 0 16,0-18-16,-18 1 15,18 17 17,-17-18 124,-1 18-78,18 0-78,-18 0 15,18 0-15,0-18 16,-17 18-16,-1 0 15,18 0 95,-18 0-95,18 0 1,-17 0 280,17 0-218,-18 0-78,1 0 16,17 0-1</inkml:trace>
  <inkml:trace contextRef="#ctx0" brushRef="#br0" timeOffset="15">17163 10460 0,'0'0'109,"0"0"-109,35 0 15,0 0-15,0 0 16,1 0-16,34 0 16,-17 0-16,18 18 15,17-1-15,-17 1 16,34-1-16,-34-17 15,-36 0-15,0 18 16,1-18-16,-36 0 47,17 0-47,1 0 15,0 0-15,-18 0 16,35 0-16,-35 0 109,18 0-109,17 18 16,-17-18-16,17 17 15,0 1-15</inkml:trace>
  <inkml:trace contextRef="#ctx0" brushRef="#br0" timeOffset="16">17551 10495 0,'0'-17'109,"0"-1"-78,0 18-15,0-18-1,0 18 1,0-17 0,-18 17-16,18-18 15,0 0-15,-18 18 16,18 0-16,0-17 15,0 17-15,0-18 16,0 0-16,-17 18 16,17 0-16,0-17 15,0 17 1,-18 0 93,18 0-93,0 0-16,-17 0 15,-1 0-15,18 0 16,-18 0-16,1-18 15,-1 18-15,0 0 16,1-18-16,-1 18 16,18 0-16,-18 0 15,1 0 1,17 0-1,-18 0-15,-17 0 16,35 0-16,-18 0 78,1 0-62,17 0-1</inkml:trace>
  <inkml:trace contextRef="#ctx0" brushRef="#br0" timeOffset="17">17639 10619 0,'0'0'47,"0"17"-31,0-17-16,35 0 15,0 36-15,1-1 16,17-35-16,-18 35 16,0-17-16,0-1 15,1 1-15,-19-18 16,19 18-1,-36-1-15,17-17 94,-17 0-94,18 0 16</inkml:trace>
  <inkml:trace contextRef="#ctx0" brushRef="#br0" timeOffset="18">18115 10672 0,'18'0'15,"-18"-18"-15,0 18 47,17 0-31,-17-18-16,18 18 15,0-17-15,17 17 16,-17-18-16,17 0 16,18-17-16,-18 0 15,0 17-15,18-17 16,-17 17-16,-1 1 15,0-1-15,-17 18 16,-1 0-16</inkml:trace>
  <inkml:trace contextRef="#ctx0" brushRef="#br0" timeOffset="19">18098 10636 0,'17'0'0,"1"0"47,-18 0-47,35 18 15,0-18-15,18 0 16,0 18-16,-18-18 16,1 17-16,-19-17 15,36 0-15,-17 18 16,16-1-16,1 19 15,18-36-15,-18 35 16,0-17-16,35 17 16,-53-35-16,1 18 15</inkml:trace>
  <inkml:trace contextRef="#ctx0" brushRef="#br0" timeOffset="20">18556 10389 0,'0'0'109,"0"0"-109,0 0 15,18 0-15,-18-17 16,17-1-16,1 18 16,-18 0-16,0-18 15,18 18-15,-18-17 16,17 17-16,-17 0 47,18 0-32,-18-18 1,0 18-16,18-18 15,-18 18-15,17-17 16,-17 17 0,0 0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C064BA9D-2804-4B04-94BC-96EB6646983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854191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064BA9D-2804-4B04-94BC-96EB66469833}" type="slidenum">
              <a:rPr lang="en-US" altLang="zh-TW" smtClean="0"/>
              <a:pPr>
                <a:defRPr/>
              </a:pPr>
              <a:t>7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19988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圖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9143999" cy="6861907"/>
          </a:xfrm>
          <a:prstGeom prst="rect">
            <a:avLst/>
          </a:prstGeom>
        </p:spPr>
      </p:pic>
      <p:sp>
        <p:nvSpPr>
          <p:cNvPr id="30723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276600" y="4207134"/>
            <a:ext cx="5638800" cy="1384995"/>
          </a:xfrm>
        </p:spPr>
        <p:txBody>
          <a:bodyPr anchor="ctr"/>
          <a:lstStyle>
            <a:lvl1pPr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altLang="zh-TW" dirty="0"/>
              <a:t>Present’s Name</a:t>
            </a:r>
            <a:br>
              <a:rPr lang="en-US" altLang="zh-TW" dirty="0"/>
            </a:br>
            <a:r>
              <a:rPr lang="en-US" altLang="zh-TW" dirty="0"/>
              <a:t>Present’s Title</a:t>
            </a:r>
            <a:br>
              <a:rPr lang="en-US" altLang="zh-TW" dirty="0"/>
            </a:br>
            <a:r>
              <a:rPr lang="en-US" altLang="zh-TW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34162805"/>
      </p:ext>
    </p:extLst>
  </p:cSld>
  <p:clrMapOvr>
    <a:masterClrMapping/>
  </p:clrMapOvr>
  <p:transition spd="slow">
    <p:zoom dir="in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59554D-3E97-4B1A-B17A-5BB8C1E1C52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935466815"/>
      </p:ext>
    </p:extLst>
  </p:cSld>
  <p:clrMapOvr>
    <a:masterClrMapping/>
  </p:clrMapOvr>
  <p:transition spd="slow">
    <p:zoom dir="in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7948136" y="228602"/>
            <a:ext cx="738664" cy="5897563"/>
          </a:xfrm>
        </p:spPr>
        <p:txBody>
          <a:bodyPr vert="eaVert"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838200" y="228602"/>
            <a:ext cx="5676900" cy="5897563"/>
          </a:xfrm>
        </p:spPr>
        <p:txBody>
          <a:bodyPr vert="eaVert"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2F7E1-4E57-473C-8B9E-58C6DA8D48A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478347223"/>
      </p:ext>
    </p:extLst>
  </p:cSld>
  <p:clrMapOvr>
    <a:masterClrMapping/>
  </p:clrMapOvr>
  <p:transition spd="slow">
    <p:zoom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5" y="5027010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5" y="5304665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ate</a:t>
            </a:r>
          </a:p>
        </p:txBody>
      </p:sp>
      <p:sp>
        <p:nvSpPr>
          <p:cNvPr id="11" name="Disclaimer-WIV008 template-0120" hidden="1"/>
          <p:cNvSpPr>
            <a:spLocks noChangeArrowheads="1"/>
          </p:cNvSpPr>
          <p:nvPr/>
        </p:nvSpPr>
        <p:spPr bwMode="auto">
          <a:xfrm>
            <a:off x="2693796" y="6008979"/>
            <a:ext cx="5225605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CONFIDENTIAL AND PROPRIETARY</a:t>
            </a:r>
          </a:p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Any use of this material without specific permission of </a:t>
            </a:r>
            <a:r>
              <a:rPr kumimoji="0" lang="en-US" sz="816" dirty="0" err="1">
                <a:solidFill>
                  <a:srgbClr val="000000"/>
                </a:solidFill>
                <a:latin typeface="Arial"/>
                <a:ea typeface="+mn-ea"/>
              </a:rPr>
              <a:t>Mcinsey</a:t>
            </a:r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 &amp; Company is strictly prohibited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0" y="2283840"/>
            <a:ext cx="2238620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Rectangle 18" hidden="1"/>
          <p:cNvSpPr/>
          <p:nvPr/>
        </p:nvSpPr>
        <p:spPr>
          <a:xfrm>
            <a:off x="0" y="1"/>
            <a:ext cx="9140761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0" lang="en-US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48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661301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1020" smtClean="0">
                <a:solidFill>
                  <a:srgbClr val="000000"/>
                </a:solidFill>
                <a:ea typeface="+mn-ea"/>
              </a:rPr>
              <a:pPr/>
              <a:t>‹#›</a:t>
            </a:fld>
            <a:endParaRPr kumimoji="0" lang="en-US" sz="102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855021" y="504939"/>
            <a:ext cx="8024875" cy="2983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881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367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1464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2513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161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3"/>
            <a:ext cx="8077200" cy="1256112"/>
          </a:xfrm>
        </p:spPr>
        <p:txBody>
          <a:bodyPr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605874820"/>
      </p:ext>
    </p:extLst>
  </p:cSld>
  <p:clrMapOvr>
    <a:masterClrMapping/>
  </p:clrMapOvr>
  <p:transition spd="slow">
    <p:zoom dir="in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476696517"/>
      </p:ext>
    </p:extLst>
  </p:cSld>
  <p:clrMapOvr>
    <a:masterClrMapping/>
  </p:clrMapOvr>
  <p:transition spd="slow">
    <p:zoom dir="in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2"/>
            <a:ext cx="8077200" cy="4525963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0"/>
            <a:ext cx="533400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94283135"/>
      </p:ext>
    </p:extLst>
  </p:cSld>
  <p:clrMapOvr>
    <a:masterClrMapping/>
  </p:clrMapOvr>
  <p:transition spd="slow">
    <p:zoom dir="in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1176312962"/>
      </p:ext>
    </p:extLst>
  </p:cSld>
  <p:clrMapOvr>
    <a:masterClrMapping/>
  </p:clrMapOvr>
  <p:transition spd="slow">
    <p:zoom dir="in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8686802" y="6507163"/>
            <a:ext cx="366712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63CB37D7-9B9A-4D0E-AEAE-700AC7DF23EC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2888991"/>
      </p:ext>
    </p:extLst>
  </p:cSld>
  <p:clrMapOvr>
    <a:masterClrMapping/>
  </p:clrMapOvr>
  <p:transition spd="slow">
    <p:zoom dir="in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5" y="5027010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5" y="5304665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ate</a:t>
            </a:r>
          </a:p>
        </p:txBody>
      </p:sp>
      <p:sp>
        <p:nvSpPr>
          <p:cNvPr id="11" name="Disclaimer-WIV008 template-0120" hidden="1"/>
          <p:cNvSpPr>
            <a:spLocks noChangeArrowheads="1"/>
          </p:cNvSpPr>
          <p:nvPr/>
        </p:nvSpPr>
        <p:spPr bwMode="auto">
          <a:xfrm>
            <a:off x="2693796" y="6008979"/>
            <a:ext cx="5225605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CONFIDENTIAL AND PROPRIETARY</a:t>
            </a:r>
          </a:p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Any use of this material without specific permission of </a:t>
            </a:r>
            <a:r>
              <a:rPr kumimoji="0" lang="en-US" sz="816" dirty="0" err="1">
                <a:solidFill>
                  <a:srgbClr val="000000"/>
                </a:solidFill>
                <a:latin typeface="Arial"/>
                <a:ea typeface="+mn-ea"/>
              </a:rPr>
              <a:t>Mcinsey</a:t>
            </a:r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 &amp; Company is strictly prohibited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0" y="2283840"/>
            <a:ext cx="2238620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Rectangle 18" hidden="1"/>
          <p:cNvSpPr/>
          <p:nvPr/>
        </p:nvSpPr>
        <p:spPr>
          <a:xfrm>
            <a:off x="0" y="1"/>
            <a:ext cx="9140761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0" lang="en-US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5018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661301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1020" smtClean="0">
                <a:solidFill>
                  <a:srgbClr val="000000"/>
                </a:solidFill>
                <a:ea typeface="+mn-ea"/>
              </a:rPr>
              <a:pPr/>
              <a:t>‹#›</a:t>
            </a:fld>
            <a:endParaRPr kumimoji="0" lang="en-US" sz="102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855021" y="504939"/>
            <a:ext cx="8024875" cy="2983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7706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4963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61933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02864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742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3"/>
            <a:ext cx="8077200" cy="1256112"/>
          </a:xfrm>
        </p:spPr>
        <p:txBody>
          <a:bodyPr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516624732"/>
      </p:ext>
    </p:extLst>
  </p:cSld>
  <p:clrMapOvr>
    <a:masterClrMapping/>
  </p:clrMapOvr>
  <p:transition spd="slow">
    <p:zoom dir="in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322776304"/>
      </p:ext>
    </p:extLst>
  </p:cSld>
  <p:clrMapOvr>
    <a:masterClrMapping/>
  </p:clrMapOvr>
  <p:transition spd="slow">
    <p:zoom dir="in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199" y="4406900"/>
            <a:ext cx="7656513" cy="707886"/>
          </a:xfrm>
        </p:spPr>
        <p:txBody>
          <a:bodyPr/>
          <a:lstStyle>
            <a:lvl1pPr algn="l">
              <a:defRPr sz="4000" b="1" cap="all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8199" y="2906713"/>
            <a:ext cx="765651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15CDA1-515A-463D-A732-15F9CFB364B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83718642"/>
      </p:ext>
    </p:extLst>
  </p:cSld>
  <p:clrMapOvr>
    <a:masterClrMapping/>
  </p:clrMapOvr>
  <p:transition spd="slow">
    <p:zoom dir="in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414931232"/>
      </p:ext>
    </p:extLst>
  </p:cSld>
  <p:clrMapOvr>
    <a:masterClrMapping/>
  </p:clrMapOvr>
  <p:transition spd="slow">
    <p:zoom dir="in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8686802" y="6507163"/>
            <a:ext cx="366712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63CB37D7-9B9A-4D0E-AEAE-700AC7DF23EC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48715869"/>
      </p:ext>
    </p:extLst>
  </p:cSld>
  <p:clrMapOvr>
    <a:masterClrMapping/>
  </p:clrMapOvr>
  <p:transition spd="slow">
    <p:zoom dir="in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6" y="5086425"/>
            <a:ext cx="503608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6" y="5304666"/>
            <a:ext cx="503608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WIV008 template-0120" hidden="1"/>
          <p:cNvSpPr>
            <a:spLocks noChangeArrowheads="1"/>
          </p:cNvSpPr>
          <p:nvPr/>
        </p:nvSpPr>
        <p:spPr bwMode="auto">
          <a:xfrm>
            <a:off x="2693796" y="6076789"/>
            <a:ext cx="5225606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902" eaLnBrk="0" hangingPunct="0"/>
            <a:r>
              <a:rPr kumimoji="0"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902" eaLnBrk="0" hangingPunct="0"/>
            <a:r>
              <a:rPr kumimoji="0"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</a:t>
            </a:r>
            <a:r>
              <a:rPr kumimoji="0" lang="en-US" sz="612" dirty="0" err="1">
                <a:solidFill>
                  <a:srgbClr val="000000"/>
                </a:solidFill>
                <a:latin typeface="Arial"/>
              </a:rPr>
              <a:t>Mcinsey</a:t>
            </a:r>
            <a:r>
              <a:rPr kumimoji="0" lang="en-US" sz="612" dirty="0">
                <a:solidFill>
                  <a:srgbClr val="000000"/>
                </a:solidFill>
                <a:latin typeface="Arial"/>
              </a:rPr>
              <a:t> &amp; Company is strictly prohibited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" y="2283840"/>
            <a:ext cx="2238620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" y="1"/>
            <a:ext cx="2238620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 hidden="1"/>
          <p:cNvSpPr/>
          <p:nvPr/>
        </p:nvSpPr>
        <p:spPr>
          <a:xfrm>
            <a:off x="0" y="1"/>
            <a:ext cx="9140762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0" lang="en-US" sz="1224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6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9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7600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682516"/>
            <a:ext cx="118622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765" smtClean="0">
                <a:solidFill>
                  <a:srgbClr val="000000"/>
                </a:solidFill>
              </a:rPr>
              <a:pPr/>
              <a:t>‹#›</a:t>
            </a:fld>
            <a:endParaRPr kumimoji="0" lang="en-US" sz="765" dirty="0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855021" y="504940"/>
            <a:ext cx="8024876" cy="2237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9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4077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0066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765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4494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838200" y="1600202"/>
            <a:ext cx="3810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800600" y="1600202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36C57C-52B3-4FD7-B0DB-AD485342437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7990088"/>
      </p:ext>
    </p:extLst>
  </p:cSld>
  <p:clrMapOvr>
    <a:masterClrMapping/>
  </p:clrMapOvr>
  <p:transition spd="slow">
    <p:zoom dir="in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74640"/>
            <a:ext cx="7848600" cy="646331"/>
          </a:xfr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8200" y="1535113"/>
            <a:ext cx="3659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838200" y="2174875"/>
            <a:ext cx="3659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FC5AC-C91A-4C06-9CB1-22798F04CB4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9643847"/>
      </p:ext>
    </p:extLst>
  </p:cSld>
  <p:clrMapOvr>
    <a:masterClrMapping/>
  </p:clrMapOvr>
  <p:transition spd="slow">
    <p:zoom dir="in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A5CDF4-F1C6-4C3A-9F04-64093E16567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80677846"/>
      </p:ext>
    </p:extLst>
  </p:cSld>
  <p:clrMapOvr>
    <a:masterClrMapping/>
  </p:clrMapOvr>
  <p:transition spd="slow">
    <p:zoom dir="in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CB37D7-9B9A-4D0E-AEAE-700AC7DF23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38882611"/>
      </p:ext>
    </p:extLst>
  </p:cSld>
  <p:clrMapOvr>
    <a:masterClrMapping/>
  </p:clrMapOvr>
  <p:transition spd="slow">
    <p:zoom dir="in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1" y="727214"/>
            <a:ext cx="2627313" cy="70788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838201" y="1435102"/>
            <a:ext cx="2627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06EAE2-05FE-431D-9FC4-D647988B83A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93740058"/>
      </p:ext>
    </p:extLst>
  </p:cSld>
  <p:clrMapOvr>
    <a:masterClrMapping/>
  </p:clrMapOvr>
  <p:transition spd="slow">
    <p:zoom dir="in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967228"/>
            <a:ext cx="5486400" cy="400110"/>
          </a:xfrm>
        </p:spPr>
        <p:txBody>
          <a:bodyPr anchor="b"/>
          <a:lstStyle>
            <a:lvl1pPr algn="l">
              <a:defRPr sz="2000" b="1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BCDEDB-AEB3-43E2-BA3D-DED5F03D961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234332843"/>
      </p:ext>
    </p:extLst>
  </p:cSld>
  <p:clrMapOvr>
    <a:masterClrMapping/>
  </p:clrMapOvr>
  <p:transition spd="slow">
    <p:zoom dir="in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jp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4.xml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"/>
            <a:ext cx="9144000" cy="686060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411164"/>
            <a:ext cx="78486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dirty="0"/>
              <a:t>Click to edit Master title style 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600202"/>
            <a:ext cx="7848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/>
              <a:t>Click to edit Master text styles</a:t>
            </a:r>
          </a:p>
          <a:p>
            <a:pPr lvl="1"/>
            <a:r>
              <a:rPr lang="en-US" altLang="zh-TW" dirty="0"/>
              <a:t>Second level</a:t>
            </a:r>
          </a:p>
          <a:p>
            <a:pPr lvl="2"/>
            <a:r>
              <a:rPr lang="en-US" altLang="zh-TW" dirty="0"/>
              <a:t>Third level</a:t>
            </a:r>
          </a:p>
          <a:p>
            <a:pPr lvl="3"/>
            <a:r>
              <a:rPr lang="en-US" altLang="zh-TW" dirty="0"/>
              <a:t>Fourth level</a:t>
            </a:r>
          </a:p>
          <a:p>
            <a:pPr lvl="4"/>
            <a:r>
              <a:rPr lang="en-US" altLang="zh-TW" dirty="0"/>
              <a:t>Fifth level</a:t>
            </a:r>
          </a:p>
        </p:txBody>
      </p:sp>
      <p:sp>
        <p:nvSpPr>
          <p:cNvPr id="29717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29099" y="6553200"/>
            <a:ext cx="685800" cy="289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kumimoji="1" sz="12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3AB1FE89-9AA8-4D5B-B63B-2A1E06624653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transition spd="slow">
    <p:zoom dir="in"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rgbClr val="33333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rgbClr val="4D4D4D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4D4D4D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rgbClr val="4D4D4D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kumimoji="0" lang="en-US" sz="816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073399" y="1979057"/>
            <a:ext cx="1998658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>
                <a:solidFill>
                  <a:srgbClr val="000000"/>
                </a:solidFill>
                <a:latin typeface="Arial"/>
                <a:ea typeface="+mn-ea"/>
              </a:rPr>
              <a:t>Last Modified 12/15/2016 9:37 AM China Standard Time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45971" y="4197037"/>
            <a:ext cx="253513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 dirty="0">
                <a:solidFill>
                  <a:srgbClr val="000000"/>
                </a:solidFill>
                <a:latin typeface="Arial"/>
                <a:ea typeface="+mn-ea"/>
              </a:rPr>
              <a:t>Printed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5021" y="504939"/>
            <a:ext cx="80248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020" y="120443"/>
            <a:ext cx="77039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428" dirty="0">
                <a:solidFill>
                  <a:srgbClr val="808080"/>
                </a:solidFill>
                <a:latin typeface="Arial"/>
                <a:ea typeface="+mn-ea"/>
              </a:rPr>
              <a:t>TRAC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020" y="812691"/>
            <a:ext cx="802487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632" dirty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60900" y="5898618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60900" y="6102246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632" b="1" dirty="0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kumimoji="0" lang="en-US" sz="1632" dirty="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>
          <a:xfrm>
            <a:off x="1482156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4295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kumimoji="0" lang="en-US" sz="816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073399" y="1979057"/>
            <a:ext cx="1998658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>
                <a:solidFill>
                  <a:srgbClr val="000000"/>
                </a:solidFill>
                <a:latin typeface="Arial"/>
                <a:ea typeface="+mn-ea"/>
              </a:rPr>
              <a:t>Last Modified 12/15/2016 9:37 AM China Standard Time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45971" y="4197037"/>
            <a:ext cx="253513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 dirty="0">
                <a:solidFill>
                  <a:srgbClr val="000000"/>
                </a:solidFill>
                <a:latin typeface="Arial"/>
                <a:ea typeface="+mn-ea"/>
              </a:rPr>
              <a:t>Printed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5021" y="504939"/>
            <a:ext cx="80248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020" y="120443"/>
            <a:ext cx="77039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428" dirty="0">
                <a:solidFill>
                  <a:srgbClr val="808080"/>
                </a:solidFill>
                <a:latin typeface="Arial"/>
                <a:ea typeface="+mn-ea"/>
              </a:rPr>
              <a:t>TRAC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020" y="812691"/>
            <a:ext cx="802487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632" dirty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60900" y="5898618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60900" y="6102246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632" b="1" dirty="0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kumimoji="0" lang="en-US" sz="1632" dirty="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>
          <a:xfrm>
            <a:off x="1482156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29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kumimoji="0"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365804" y="1991783"/>
            <a:ext cx="141384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459">
                <a:solidFill>
                  <a:srgbClr val="000000"/>
                </a:solidFill>
                <a:latin typeface="Arial"/>
              </a:rPr>
              <a:t>Last Modified 9/13/2016 1:17 PM China Standard Time</a:t>
            </a:r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81356" y="4209763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459" dirty="0">
                <a:solidFill>
                  <a:srgbClr val="000000"/>
                </a:solidFill>
                <a:latin typeface="Arial"/>
              </a:rPr>
              <a:t>Printed</a:t>
            </a:r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5021" y="504940"/>
            <a:ext cx="8024876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021" y="120444"/>
            <a:ext cx="564257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071" dirty="0">
                <a:solidFill>
                  <a:srgbClr val="808080"/>
                </a:solidFill>
                <a:latin typeface="Arial"/>
              </a:rPr>
              <a:t>TRAC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020" y="812692"/>
            <a:ext cx="8024876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60900" y="5941048"/>
            <a:ext cx="8418998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60900" y="6102247"/>
            <a:ext cx="8418998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481" indent="-466481" defTabSz="685145">
              <a:tabLst>
                <a:tab pos="468911" algn="l"/>
              </a:tabLst>
            </a:pPr>
            <a:r>
              <a:rPr kumimoji="0"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6" y="1273121"/>
            <a:ext cx="4350892" cy="395218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kumimoji="0"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>
          <a:xfrm>
            <a:off x="1482156" y="1991016"/>
            <a:ext cx="4389768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539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book.tw/" TargetMode="External"/><Relationship Id="rId2" Type="http://schemas.openxmlformats.org/officeDocument/2006/relationships/hyperlink" Target="https://ithelp.ithome.com.tw/articles/10190453" TargetMode="Externa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backlog.com/git-tutorial/tw/" TargetMode="External"/><Relationship Id="rId4" Type="http://schemas.openxmlformats.org/officeDocument/2006/relationships/hyperlink" Target="https://www.slideshare.net/littlebtc/git-5528339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6.jpeg"/><Relationship Id="rId7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speakerdeck.com/eddie/ni-zhi-dao-git-shi-zen-mo-hui-shi-ma?slide=42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0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customXml" Target="../ink/ink4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5"/>
          <p:cNvSpPr txBox="1">
            <a:spLocks noChangeArrowheads="1"/>
          </p:cNvSpPr>
          <p:nvPr/>
        </p:nvSpPr>
        <p:spPr bwMode="auto">
          <a:xfrm>
            <a:off x="6172200" y="4370069"/>
            <a:ext cx="2438400" cy="964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indent="2667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marL="342900" indent="-342900">
              <a:lnSpc>
                <a:spcPct val="125000"/>
              </a:lnSpc>
              <a:spcBef>
                <a:spcPct val="20000"/>
              </a:spcBef>
              <a:buFont typeface="微軟正黑體" panose="020B0604030504040204" pitchFamily="34" charset="-120"/>
              <a:buChar char="■"/>
            </a:pPr>
            <a:r>
              <a:rPr lang="en-US" altLang="en-US" sz="2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細明體" pitchFamily="49" charset="-120"/>
              </a:rPr>
              <a:t>Double Lee</a:t>
            </a:r>
          </a:p>
          <a:p>
            <a:pPr marL="342900" indent="-342900">
              <a:lnSpc>
                <a:spcPct val="125000"/>
              </a:lnSpc>
              <a:spcBef>
                <a:spcPct val="20000"/>
              </a:spcBef>
              <a:buFont typeface="微軟正黑體" panose="020B0604030504040204" pitchFamily="34" charset="-120"/>
              <a:buChar char="■"/>
            </a:pPr>
            <a:r>
              <a:rPr lang="en-US" altLang="en-US" sz="2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細明體" pitchFamily="49" charset="-120"/>
              </a:rPr>
              <a:t>2019/09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28600" y="2286002"/>
            <a:ext cx="845820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572" tIns="50786" rIns="101572" bIns="50786" anchor="ctr"/>
          <a:lstStyle>
            <a:lvl1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1pPr>
            <a:lvl2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2pPr>
            <a:lvl3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3pPr>
            <a:lvl4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4pPr>
            <a:lvl5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9pPr>
          </a:lstStyle>
          <a:p>
            <a:pPr>
              <a:lnSpc>
                <a:spcPct val="115000"/>
              </a:lnSpc>
            </a:pPr>
            <a:r>
              <a:rPr lang="en-US" altLang="en-US" sz="4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文鼎粗黑"/>
              </a:rPr>
              <a:t>Armstrong Training:</a:t>
            </a:r>
          </a:p>
          <a:p>
            <a:pPr>
              <a:lnSpc>
                <a:spcPct val="115000"/>
              </a:lnSpc>
            </a:pPr>
            <a:r>
              <a:rPr lang="en-US" altLang="en-US" sz="4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文鼎粗黑"/>
              </a:rPr>
              <a:t>AS:06A Git</a:t>
            </a:r>
          </a:p>
        </p:txBody>
      </p:sp>
    </p:spTree>
  </p:cSld>
  <p:clrMapOvr>
    <a:masterClrMapping/>
  </p:clrMapOvr>
  <p:transition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實作說明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</a:t>
            </a:fld>
            <a:endParaRPr lang="en-US" altLang="zh-TW" dirty="0"/>
          </a:p>
        </p:txBody>
      </p:sp>
      <p:sp>
        <p:nvSpPr>
          <p:cNvPr id="7" name="內容版面配置區 1">
            <a:extLst>
              <a:ext uri="{FF2B5EF4-FFF2-40B4-BE49-F238E27FC236}">
                <a16:creationId xmlns:a16="http://schemas.microsoft.com/office/drawing/2014/main" id="{A7A0D102-9C85-4876-8F26-9765AD4B8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66018"/>
            <a:ext cx="8077200" cy="4525963"/>
          </a:xfrm>
        </p:spPr>
        <p:txBody>
          <a:bodyPr/>
          <a:lstStyle/>
          <a:p>
            <a:pPr marL="0" indent="0">
              <a:buNone/>
            </a:pPr>
            <a:r>
              <a:rPr lang="en-US" altLang="zh-TW" dirty="0"/>
              <a:t>Lab = Home Work</a:t>
            </a:r>
          </a:p>
          <a:p>
            <a:pPr marL="0" indent="0">
              <a:buNone/>
            </a:pPr>
            <a:endParaRPr lang="en-US" altLang="zh-TW" dirty="0"/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949AACC3-26BD-4A87-ACAC-6175BADD63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12494"/>
            <a:ext cx="9144000" cy="999828"/>
          </a:xfrm>
          <a:prstGeom prst="rect">
            <a:avLst/>
          </a:prstGeom>
        </p:spPr>
      </p:pic>
      <p:sp>
        <p:nvSpPr>
          <p:cNvPr id="5" name="橢圓 4">
            <a:extLst>
              <a:ext uri="{FF2B5EF4-FFF2-40B4-BE49-F238E27FC236}">
                <a16:creationId xmlns:a16="http://schemas.microsoft.com/office/drawing/2014/main" id="{697D9567-89FC-4832-B563-6451C95ED4A0}"/>
              </a:ext>
            </a:extLst>
          </p:cNvPr>
          <p:cNvSpPr/>
          <p:nvPr/>
        </p:nvSpPr>
        <p:spPr bwMode="auto">
          <a:xfrm>
            <a:off x="8077200" y="2209800"/>
            <a:ext cx="914400" cy="152400"/>
          </a:xfrm>
          <a:prstGeom prst="ellipse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CE2611FB-F75E-4F97-8ABC-AECED6C247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43327"/>
            <a:ext cx="9144000" cy="967107"/>
          </a:xfrm>
          <a:prstGeom prst="rect">
            <a:avLst/>
          </a:prstGeom>
        </p:spPr>
      </p:pic>
      <p:cxnSp>
        <p:nvCxnSpPr>
          <p:cNvPr id="8" name="直線單箭頭接點 7">
            <a:extLst>
              <a:ext uri="{FF2B5EF4-FFF2-40B4-BE49-F238E27FC236}">
                <a16:creationId xmlns:a16="http://schemas.microsoft.com/office/drawing/2014/main" id="{5D77D004-AFD5-4A59-A16A-1BCBC81DA0D4}"/>
              </a:ext>
            </a:extLst>
          </p:cNvPr>
          <p:cNvCxnSpPr>
            <a:cxnSpLocks/>
          </p:cNvCxnSpPr>
          <p:nvPr/>
        </p:nvCxnSpPr>
        <p:spPr bwMode="auto">
          <a:xfrm flipH="1">
            <a:off x="6847866" y="2385587"/>
            <a:ext cx="1381734" cy="138173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261621923"/>
      </p:ext>
    </p:extLst>
  </p:cSld>
  <p:clrMapOvr>
    <a:masterClrMapping/>
  </p:clrMapOvr>
  <p:transition spd="slow">
    <p:zoom dir="in"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0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heckout master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2731806" y="4901446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2731806" y="4236709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899F5217-0AD5-4B49-BB1C-651DC37349E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234914D8-EE9E-4E4B-BA93-736048DBFBE5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橢圓 28">
            <a:extLst>
              <a:ext uri="{FF2B5EF4-FFF2-40B4-BE49-F238E27FC236}">
                <a16:creationId xmlns:a16="http://schemas.microsoft.com/office/drawing/2014/main" id="{0A967DD8-04A6-4DB0-97A0-3E31F19976B6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1402152-477A-4D4A-8784-363537B5D1E2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184CA17F-B0D4-421F-99D1-3C11D840E01C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32" name="橢圓 31">
            <a:extLst>
              <a:ext uri="{FF2B5EF4-FFF2-40B4-BE49-F238E27FC236}">
                <a16:creationId xmlns:a16="http://schemas.microsoft.com/office/drawing/2014/main" id="{0AE0E735-A3AF-436D-B239-223800BC1E6D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4" name="直線接點 33">
            <a:extLst>
              <a:ext uri="{FF2B5EF4-FFF2-40B4-BE49-F238E27FC236}">
                <a16:creationId xmlns:a16="http://schemas.microsoft.com/office/drawing/2014/main" id="{1776E91B-A867-40AE-A76E-F1D77758CE5E}"/>
              </a:ext>
            </a:extLst>
          </p:cNvPr>
          <p:cNvCxnSpPr>
            <a:cxnSpLocks/>
            <a:stCxn id="29" idx="5"/>
            <a:endCxn id="32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5D633DFA-5558-4421-BEA2-3A15199205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橢圓 23">
            <a:extLst>
              <a:ext uri="{FF2B5EF4-FFF2-40B4-BE49-F238E27FC236}">
                <a16:creationId xmlns:a16="http://schemas.microsoft.com/office/drawing/2014/main" id="{6E8AB34B-39B0-4FA1-9A8F-D5FAF2118EBD}"/>
              </a:ext>
            </a:extLst>
          </p:cNvPr>
          <p:cNvSpPr/>
          <p:nvPr/>
        </p:nvSpPr>
        <p:spPr bwMode="auto">
          <a:xfrm>
            <a:off x="7620000" y="2077850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6" name="直線接點 25">
            <a:extLst>
              <a:ext uri="{FF2B5EF4-FFF2-40B4-BE49-F238E27FC236}">
                <a16:creationId xmlns:a16="http://schemas.microsoft.com/office/drawing/2014/main" id="{4D3F212A-2D55-41D5-AAC7-B621D42362DD}"/>
              </a:ext>
            </a:extLst>
          </p:cNvPr>
          <p:cNvCxnSpPr>
            <a:cxnSpLocks/>
            <a:stCxn id="29" idx="4"/>
            <a:endCxn id="24" idx="0"/>
          </p:cNvCxnSpPr>
          <p:nvPr/>
        </p:nvCxnSpPr>
        <p:spPr bwMode="auto">
          <a:xfrm>
            <a:off x="7772400" y="1467178"/>
            <a:ext cx="0" cy="6106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標題 2">
            <a:extLst>
              <a:ext uri="{FF2B5EF4-FFF2-40B4-BE49-F238E27FC236}">
                <a16:creationId xmlns:a16="http://schemas.microsoft.com/office/drawing/2014/main" id="{FBC95815-8217-40E2-B125-5E828896D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646331"/>
          </a:xfrm>
        </p:spPr>
        <p:txBody>
          <a:bodyPr/>
          <a:lstStyle/>
          <a:p>
            <a:r>
              <a:rPr lang="en-US" altLang="zh-TW" dirty="0"/>
              <a:t>Master</a:t>
            </a:r>
            <a:r>
              <a:rPr lang="zh-TW" altLang="en-US" dirty="0"/>
              <a:t> </a:t>
            </a:r>
            <a:r>
              <a:rPr lang="en-US" altLang="zh-TW" dirty="0"/>
              <a:t>commit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3945233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1.11111E-6 L -0.2408 -0.2300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49" y="-115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1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2731806" y="966115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2559772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899F5217-0AD5-4B49-BB1C-651DC37349E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234914D8-EE9E-4E4B-BA93-736048DBFBE5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橢圓 28">
            <a:extLst>
              <a:ext uri="{FF2B5EF4-FFF2-40B4-BE49-F238E27FC236}">
                <a16:creationId xmlns:a16="http://schemas.microsoft.com/office/drawing/2014/main" id="{0A967DD8-04A6-4DB0-97A0-3E31F19976B6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1402152-477A-4D4A-8784-363537B5D1E2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184CA17F-B0D4-421F-99D1-3C11D840E01C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32" name="橢圓 31">
            <a:extLst>
              <a:ext uri="{FF2B5EF4-FFF2-40B4-BE49-F238E27FC236}">
                <a16:creationId xmlns:a16="http://schemas.microsoft.com/office/drawing/2014/main" id="{0AE0E735-A3AF-436D-B239-223800BC1E6D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4" name="直線接點 33">
            <a:extLst>
              <a:ext uri="{FF2B5EF4-FFF2-40B4-BE49-F238E27FC236}">
                <a16:creationId xmlns:a16="http://schemas.microsoft.com/office/drawing/2014/main" id="{1776E91B-A867-40AE-A76E-F1D77758CE5E}"/>
              </a:ext>
            </a:extLst>
          </p:cNvPr>
          <p:cNvCxnSpPr>
            <a:cxnSpLocks/>
            <a:stCxn id="29" idx="5"/>
            <a:endCxn id="32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5D633DFA-5558-4421-BEA2-3A15199205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橢圓 23">
            <a:extLst>
              <a:ext uri="{FF2B5EF4-FFF2-40B4-BE49-F238E27FC236}">
                <a16:creationId xmlns:a16="http://schemas.microsoft.com/office/drawing/2014/main" id="{6E8AB34B-39B0-4FA1-9A8F-D5FAF2118EBD}"/>
              </a:ext>
            </a:extLst>
          </p:cNvPr>
          <p:cNvSpPr/>
          <p:nvPr/>
        </p:nvSpPr>
        <p:spPr bwMode="auto">
          <a:xfrm>
            <a:off x="7620000" y="2077850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6" name="直線接點 25">
            <a:extLst>
              <a:ext uri="{FF2B5EF4-FFF2-40B4-BE49-F238E27FC236}">
                <a16:creationId xmlns:a16="http://schemas.microsoft.com/office/drawing/2014/main" id="{4D3F212A-2D55-41D5-AAC7-B621D42362DD}"/>
              </a:ext>
            </a:extLst>
          </p:cNvPr>
          <p:cNvCxnSpPr>
            <a:cxnSpLocks/>
            <a:stCxn id="29" idx="4"/>
            <a:endCxn id="24" idx="0"/>
          </p:cNvCxnSpPr>
          <p:nvPr/>
        </p:nvCxnSpPr>
        <p:spPr bwMode="auto">
          <a:xfrm>
            <a:off x="7772400" y="1467178"/>
            <a:ext cx="0" cy="6106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標題 2">
            <a:extLst>
              <a:ext uri="{FF2B5EF4-FFF2-40B4-BE49-F238E27FC236}">
                <a16:creationId xmlns:a16="http://schemas.microsoft.com/office/drawing/2014/main" id="{FBC95815-8217-40E2-B125-5E828896D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646331"/>
          </a:xfrm>
        </p:spPr>
        <p:txBody>
          <a:bodyPr/>
          <a:lstStyle/>
          <a:p>
            <a:r>
              <a:rPr lang="en-US" altLang="zh-TW" dirty="0"/>
              <a:t>Master</a:t>
            </a:r>
            <a:r>
              <a:rPr lang="zh-TW" altLang="en-US" dirty="0"/>
              <a:t> </a:t>
            </a:r>
            <a:r>
              <a:rPr lang="en-US" altLang="zh-TW" dirty="0"/>
              <a:t>commit</a:t>
            </a:r>
            <a:endParaRPr lang="zh-TW" altLang="en-US" dirty="0"/>
          </a:p>
        </p:txBody>
      </p:sp>
      <p:sp>
        <p:nvSpPr>
          <p:cNvPr id="35" name="流程圖: 替代程序 34">
            <a:extLst>
              <a:ext uri="{FF2B5EF4-FFF2-40B4-BE49-F238E27FC236}">
                <a16:creationId xmlns:a16="http://schemas.microsoft.com/office/drawing/2014/main" id="{27ED1E17-AADC-450F-9219-98B15BD5B7FD}"/>
              </a:ext>
            </a:extLst>
          </p:cNvPr>
          <p:cNvSpPr/>
          <p:nvPr/>
        </p:nvSpPr>
        <p:spPr bwMode="auto">
          <a:xfrm>
            <a:off x="2878650" y="329827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6" name="箭號: 向右 35">
            <a:extLst>
              <a:ext uri="{FF2B5EF4-FFF2-40B4-BE49-F238E27FC236}">
                <a16:creationId xmlns:a16="http://schemas.microsoft.com/office/drawing/2014/main" id="{11D46C1B-5C6E-4125-A53D-CD14348A2651}"/>
              </a:ext>
            </a:extLst>
          </p:cNvPr>
          <p:cNvSpPr/>
          <p:nvPr/>
        </p:nvSpPr>
        <p:spPr bwMode="auto">
          <a:xfrm rot="3387916">
            <a:off x="2107315" y="2410539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72066901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44444E-6 L 0.23542 0.20672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71" y="1032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1.48148E-6 L 0.23385 0.18241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84" y="9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35" grpId="0" animBg="1"/>
      <p:bldP spid="36" grpId="0" animBg="1"/>
    </p:bld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2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2731806" y="4615320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merge dev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2731806" y="966115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2721973" y="3934795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899F5217-0AD5-4B49-BB1C-651DC37349E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234914D8-EE9E-4E4B-BA93-736048DBFBE5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橢圓 28">
            <a:extLst>
              <a:ext uri="{FF2B5EF4-FFF2-40B4-BE49-F238E27FC236}">
                <a16:creationId xmlns:a16="http://schemas.microsoft.com/office/drawing/2014/main" id="{0A967DD8-04A6-4DB0-97A0-3E31F19976B6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1402152-477A-4D4A-8784-363537B5D1E2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184CA17F-B0D4-421F-99D1-3C11D840E01C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32" name="橢圓 31">
            <a:extLst>
              <a:ext uri="{FF2B5EF4-FFF2-40B4-BE49-F238E27FC236}">
                <a16:creationId xmlns:a16="http://schemas.microsoft.com/office/drawing/2014/main" id="{0AE0E735-A3AF-436D-B239-223800BC1E6D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4" name="直線接點 33">
            <a:extLst>
              <a:ext uri="{FF2B5EF4-FFF2-40B4-BE49-F238E27FC236}">
                <a16:creationId xmlns:a16="http://schemas.microsoft.com/office/drawing/2014/main" id="{1776E91B-A867-40AE-A76E-F1D77758CE5E}"/>
              </a:ext>
            </a:extLst>
          </p:cNvPr>
          <p:cNvCxnSpPr>
            <a:cxnSpLocks/>
            <a:stCxn id="29" idx="5"/>
            <a:endCxn id="32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5D633DFA-5558-4421-BEA2-3A15199205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橢圓 23">
            <a:extLst>
              <a:ext uri="{FF2B5EF4-FFF2-40B4-BE49-F238E27FC236}">
                <a16:creationId xmlns:a16="http://schemas.microsoft.com/office/drawing/2014/main" id="{6E8AB34B-39B0-4FA1-9A8F-D5FAF2118EBD}"/>
              </a:ext>
            </a:extLst>
          </p:cNvPr>
          <p:cNvSpPr/>
          <p:nvPr/>
        </p:nvSpPr>
        <p:spPr bwMode="auto">
          <a:xfrm>
            <a:off x="7620000" y="2077850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6" name="直線接點 25">
            <a:extLst>
              <a:ext uri="{FF2B5EF4-FFF2-40B4-BE49-F238E27FC236}">
                <a16:creationId xmlns:a16="http://schemas.microsoft.com/office/drawing/2014/main" id="{4D3F212A-2D55-41D5-AAC7-B621D42362DD}"/>
              </a:ext>
            </a:extLst>
          </p:cNvPr>
          <p:cNvCxnSpPr>
            <a:cxnSpLocks/>
            <a:stCxn id="29" idx="4"/>
            <a:endCxn id="24" idx="0"/>
          </p:cNvCxnSpPr>
          <p:nvPr/>
        </p:nvCxnSpPr>
        <p:spPr bwMode="auto">
          <a:xfrm>
            <a:off x="7772400" y="1467178"/>
            <a:ext cx="0" cy="6106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標題 2">
            <a:extLst>
              <a:ext uri="{FF2B5EF4-FFF2-40B4-BE49-F238E27FC236}">
                <a16:creationId xmlns:a16="http://schemas.microsoft.com/office/drawing/2014/main" id="{FBC95815-8217-40E2-B125-5E828896D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646331"/>
          </a:xfrm>
        </p:spPr>
        <p:txBody>
          <a:bodyPr/>
          <a:lstStyle/>
          <a:p>
            <a:r>
              <a:rPr lang="en-US" altLang="zh-TW" dirty="0"/>
              <a:t>Git Merge</a:t>
            </a:r>
            <a:endParaRPr lang="zh-TW" altLang="en-US" dirty="0"/>
          </a:p>
        </p:txBody>
      </p:sp>
      <p:sp>
        <p:nvSpPr>
          <p:cNvPr id="35" name="流程圖: 替代程序 34">
            <a:extLst>
              <a:ext uri="{FF2B5EF4-FFF2-40B4-BE49-F238E27FC236}">
                <a16:creationId xmlns:a16="http://schemas.microsoft.com/office/drawing/2014/main" id="{27ED1E17-AADC-450F-9219-98B15BD5B7FD}"/>
              </a:ext>
            </a:extLst>
          </p:cNvPr>
          <p:cNvSpPr/>
          <p:nvPr/>
        </p:nvSpPr>
        <p:spPr bwMode="auto">
          <a:xfrm>
            <a:off x="2878650" y="329827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6" name="箭號: 向右 35">
            <a:extLst>
              <a:ext uri="{FF2B5EF4-FFF2-40B4-BE49-F238E27FC236}">
                <a16:creationId xmlns:a16="http://schemas.microsoft.com/office/drawing/2014/main" id="{11D46C1B-5C6E-4125-A53D-CD14348A2651}"/>
              </a:ext>
            </a:extLst>
          </p:cNvPr>
          <p:cNvSpPr/>
          <p:nvPr/>
        </p:nvSpPr>
        <p:spPr bwMode="auto">
          <a:xfrm rot="3387916">
            <a:off x="2107315" y="2410539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7" name="流程圖: 替代程序 26">
            <a:extLst>
              <a:ext uri="{FF2B5EF4-FFF2-40B4-BE49-F238E27FC236}">
                <a16:creationId xmlns:a16="http://schemas.microsoft.com/office/drawing/2014/main" id="{CF2FA867-C5D8-4DEE-8150-3667B7851762}"/>
              </a:ext>
            </a:extLst>
          </p:cNvPr>
          <p:cNvSpPr/>
          <p:nvPr/>
        </p:nvSpPr>
        <p:spPr bwMode="auto">
          <a:xfrm>
            <a:off x="4869713" y="1440005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8" name="橢圓 37">
            <a:extLst>
              <a:ext uri="{FF2B5EF4-FFF2-40B4-BE49-F238E27FC236}">
                <a16:creationId xmlns:a16="http://schemas.microsoft.com/office/drawing/2014/main" id="{38FC5327-56AD-48A5-A69B-F0E0E8A585E9}"/>
              </a:ext>
            </a:extLst>
          </p:cNvPr>
          <p:cNvSpPr/>
          <p:nvPr/>
        </p:nvSpPr>
        <p:spPr bwMode="auto">
          <a:xfrm>
            <a:off x="7604729" y="299994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9" name="直線接點 38">
            <a:extLst>
              <a:ext uri="{FF2B5EF4-FFF2-40B4-BE49-F238E27FC236}">
                <a16:creationId xmlns:a16="http://schemas.microsoft.com/office/drawing/2014/main" id="{580E0A3A-E634-4AC0-BF14-106E626DD378}"/>
              </a:ext>
            </a:extLst>
          </p:cNvPr>
          <p:cNvCxnSpPr>
            <a:cxnSpLocks/>
          </p:cNvCxnSpPr>
          <p:nvPr/>
        </p:nvCxnSpPr>
        <p:spPr bwMode="auto">
          <a:xfrm>
            <a:off x="7772399" y="2382650"/>
            <a:ext cx="0" cy="6106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直線接點 39">
            <a:extLst>
              <a:ext uri="{FF2B5EF4-FFF2-40B4-BE49-F238E27FC236}">
                <a16:creationId xmlns:a16="http://schemas.microsoft.com/office/drawing/2014/main" id="{6E6652EF-864C-4AB6-823B-DD3E37D5EDA2}"/>
              </a:ext>
            </a:extLst>
          </p:cNvPr>
          <p:cNvCxnSpPr>
            <a:cxnSpLocks/>
          </p:cNvCxnSpPr>
          <p:nvPr/>
        </p:nvCxnSpPr>
        <p:spPr bwMode="auto">
          <a:xfrm flipH="1">
            <a:off x="7924800" y="2000578"/>
            <a:ext cx="533400" cy="115177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箭號: 向右 40">
            <a:extLst>
              <a:ext uri="{FF2B5EF4-FFF2-40B4-BE49-F238E27FC236}">
                <a16:creationId xmlns:a16="http://schemas.microsoft.com/office/drawing/2014/main" id="{9A26FF36-0E2B-40FE-B55C-53FBCC9E5C8C}"/>
              </a:ext>
            </a:extLst>
          </p:cNvPr>
          <p:cNvSpPr/>
          <p:nvPr/>
        </p:nvSpPr>
        <p:spPr bwMode="auto">
          <a:xfrm rot="18611587">
            <a:off x="4183473" y="2462755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42" name="箭號: 向右 41">
            <a:extLst>
              <a:ext uri="{FF2B5EF4-FFF2-40B4-BE49-F238E27FC236}">
                <a16:creationId xmlns:a16="http://schemas.microsoft.com/office/drawing/2014/main" id="{D8C9DA01-0FFF-4CA1-84B4-D904D77D5F46}"/>
              </a:ext>
            </a:extLst>
          </p:cNvPr>
          <p:cNvSpPr/>
          <p:nvPr/>
        </p:nvSpPr>
        <p:spPr bwMode="auto">
          <a:xfrm>
            <a:off x="4216698" y="1502280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13650084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2.59259E-6 L 0.21371 -0.26829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77" y="-13426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1.48148E-6 L 0.21736 -0.24375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68" y="-121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7" grpId="0" animBg="1"/>
      <p:bldP spid="41" grpId="0" animBg="1"/>
      <p:bldP spid="42" grpId="0" animBg="1"/>
    </p:bld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3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2787603" y="3906049"/>
            <a:ext cx="1389990" cy="665298"/>
            <a:chOff x="892178" y="2896305"/>
            <a:chExt cx="1389990" cy="665298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2927973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178" y="289630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rebase master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2731806" y="966115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2721973" y="2000578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899F5217-0AD5-4B49-BB1C-651DC37349E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234914D8-EE9E-4E4B-BA93-736048DBFBE5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橢圓 28">
            <a:extLst>
              <a:ext uri="{FF2B5EF4-FFF2-40B4-BE49-F238E27FC236}">
                <a16:creationId xmlns:a16="http://schemas.microsoft.com/office/drawing/2014/main" id="{0A967DD8-04A6-4DB0-97A0-3E31F19976B6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1402152-477A-4D4A-8784-363537B5D1E2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184CA17F-B0D4-421F-99D1-3C11D840E01C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32" name="橢圓 31">
            <a:extLst>
              <a:ext uri="{FF2B5EF4-FFF2-40B4-BE49-F238E27FC236}">
                <a16:creationId xmlns:a16="http://schemas.microsoft.com/office/drawing/2014/main" id="{0AE0E735-A3AF-436D-B239-223800BC1E6D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4" name="直線接點 33">
            <a:extLst>
              <a:ext uri="{FF2B5EF4-FFF2-40B4-BE49-F238E27FC236}">
                <a16:creationId xmlns:a16="http://schemas.microsoft.com/office/drawing/2014/main" id="{1776E91B-A867-40AE-A76E-F1D77758CE5E}"/>
              </a:ext>
            </a:extLst>
          </p:cNvPr>
          <p:cNvCxnSpPr>
            <a:cxnSpLocks/>
            <a:stCxn id="29" idx="5"/>
            <a:endCxn id="32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5D633DFA-5558-4421-BEA2-3A15199205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橢圓 23">
            <a:extLst>
              <a:ext uri="{FF2B5EF4-FFF2-40B4-BE49-F238E27FC236}">
                <a16:creationId xmlns:a16="http://schemas.microsoft.com/office/drawing/2014/main" id="{6E8AB34B-39B0-4FA1-9A8F-D5FAF2118EBD}"/>
              </a:ext>
            </a:extLst>
          </p:cNvPr>
          <p:cNvSpPr/>
          <p:nvPr/>
        </p:nvSpPr>
        <p:spPr bwMode="auto">
          <a:xfrm>
            <a:off x="7620000" y="2077850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6" name="直線接點 25">
            <a:extLst>
              <a:ext uri="{FF2B5EF4-FFF2-40B4-BE49-F238E27FC236}">
                <a16:creationId xmlns:a16="http://schemas.microsoft.com/office/drawing/2014/main" id="{4D3F212A-2D55-41D5-AAC7-B621D42362DD}"/>
              </a:ext>
            </a:extLst>
          </p:cNvPr>
          <p:cNvCxnSpPr>
            <a:cxnSpLocks/>
            <a:stCxn id="29" idx="4"/>
            <a:endCxn id="24" idx="0"/>
          </p:cNvCxnSpPr>
          <p:nvPr/>
        </p:nvCxnSpPr>
        <p:spPr bwMode="auto">
          <a:xfrm>
            <a:off x="7772400" y="1467178"/>
            <a:ext cx="0" cy="6106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標題 2">
            <a:extLst>
              <a:ext uri="{FF2B5EF4-FFF2-40B4-BE49-F238E27FC236}">
                <a16:creationId xmlns:a16="http://schemas.microsoft.com/office/drawing/2014/main" id="{FBC95815-8217-40E2-B125-5E828896D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646331"/>
          </a:xfrm>
        </p:spPr>
        <p:txBody>
          <a:bodyPr/>
          <a:lstStyle/>
          <a:p>
            <a:r>
              <a:rPr lang="en-US" altLang="zh-TW" dirty="0"/>
              <a:t>Git Rebase </a:t>
            </a:r>
            <a:r>
              <a:rPr lang="en-US" altLang="zh-TW" dirty="0">
                <a:highlight>
                  <a:srgbClr val="FFFF00"/>
                </a:highlight>
              </a:rPr>
              <a:t>-- Case 3</a:t>
            </a:r>
            <a:endParaRPr lang="zh-TW" altLang="en-US" dirty="0">
              <a:highlight>
                <a:srgbClr val="FFFF00"/>
              </a:highlight>
            </a:endParaRPr>
          </a:p>
        </p:txBody>
      </p:sp>
      <p:sp>
        <p:nvSpPr>
          <p:cNvPr id="35" name="流程圖: 替代程序 34">
            <a:extLst>
              <a:ext uri="{FF2B5EF4-FFF2-40B4-BE49-F238E27FC236}">
                <a16:creationId xmlns:a16="http://schemas.microsoft.com/office/drawing/2014/main" id="{27ED1E17-AADC-450F-9219-98B15BD5B7FD}"/>
              </a:ext>
            </a:extLst>
          </p:cNvPr>
          <p:cNvSpPr/>
          <p:nvPr/>
        </p:nvSpPr>
        <p:spPr bwMode="auto">
          <a:xfrm>
            <a:off x="2878650" y="329827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6" name="箭號: 向右 35">
            <a:extLst>
              <a:ext uri="{FF2B5EF4-FFF2-40B4-BE49-F238E27FC236}">
                <a16:creationId xmlns:a16="http://schemas.microsoft.com/office/drawing/2014/main" id="{11D46C1B-5C6E-4125-A53D-CD14348A2651}"/>
              </a:ext>
            </a:extLst>
          </p:cNvPr>
          <p:cNvSpPr/>
          <p:nvPr/>
        </p:nvSpPr>
        <p:spPr bwMode="auto">
          <a:xfrm rot="3387916">
            <a:off x="2107315" y="2410539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43" name="流程圖: 替代程序 42">
            <a:extLst>
              <a:ext uri="{FF2B5EF4-FFF2-40B4-BE49-F238E27FC236}">
                <a16:creationId xmlns:a16="http://schemas.microsoft.com/office/drawing/2014/main" id="{CC8E8D9E-B77E-46E5-9A64-AF9DE79D5B76}"/>
              </a:ext>
            </a:extLst>
          </p:cNvPr>
          <p:cNvSpPr/>
          <p:nvPr/>
        </p:nvSpPr>
        <p:spPr bwMode="auto">
          <a:xfrm>
            <a:off x="5058699" y="337353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44" name="箭號: 向右 43">
            <a:extLst>
              <a:ext uri="{FF2B5EF4-FFF2-40B4-BE49-F238E27FC236}">
                <a16:creationId xmlns:a16="http://schemas.microsoft.com/office/drawing/2014/main" id="{17A0CB83-AEA8-479F-9DD9-97B733743EA9}"/>
              </a:ext>
            </a:extLst>
          </p:cNvPr>
          <p:cNvSpPr/>
          <p:nvPr/>
        </p:nvSpPr>
        <p:spPr bwMode="auto">
          <a:xfrm>
            <a:off x="4319732" y="3398508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45" name="橢圓 44">
            <a:extLst>
              <a:ext uri="{FF2B5EF4-FFF2-40B4-BE49-F238E27FC236}">
                <a16:creationId xmlns:a16="http://schemas.microsoft.com/office/drawing/2014/main" id="{20617822-7AC0-4FE4-B8B3-B89D28AABB1B}"/>
              </a:ext>
            </a:extLst>
          </p:cNvPr>
          <p:cNvSpPr/>
          <p:nvPr/>
        </p:nvSpPr>
        <p:spPr bwMode="auto">
          <a:xfrm>
            <a:off x="7650487" y="3019053"/>
            <a:ext cx="304800" cy="304800"/>
          </a:xfrm>
          <a:prstGeom prst="ellipse">
            <a:avLst/>
          </a:prstGeom>
          <a:solidFill>
            <a:srgbClr val="FFBD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46" name="直線接點 45">
            <a:extLst>
              <a:ext uri="{FF2B5EF4-FFF2-40B4-BE49-F238E27FC236}">
                <a16:creationId xmlns:a16="http://schemas.microsoft.com/office/drawing/2014/main" id="{69B37361-DE14-4A79-A456-315AD4826F8F}"/>
              </a:ext>
            </a:extLst>
          </p:cNvPr>
          <p:cNvCxnSpPr>
            <a:cxnSpLocks/>
          </p:cNvCxnSpPr>
          <p:nvPr/>
        </p:nvCxnSpPr>
        <p:spPr bwMode="auto">
          <a:xfrm>
            <a:off x="7802887" y="2382650"/>
            <a:ext cx="0" cy="6106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直線接點 46">
            <a:extLst>
              <a:ext uri="{FF2B5EF4-FFF2-40B4-BE49-F238E27FC236}">
                <a16:creationId xmlns:a16="http://schemas.microsoft.com/office/drawing/2014/main" id="{985EAED4-4AA0-4018-B2F5-E0D32132F7E4}"/>
              </a:ext>
            </a:extLst>
          </p:cNvPr>
          <p:cNvCxnSpPr>
            <a:cxnSpLocks/>
            <a:stCxn id="32" idx="4"/>
          </p:cNvCxnSpPr>
          <p:nvPr/>
        </p:nvCxnSpPr>
        <p:spPr bwMode="auto">
          <a:xfrm flipH="1">
            <a:off x="7955287" y="1984969"/>
            <a:ext cx="502913" cy="10340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81187131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2.96296E-6 L 0.23646 0.26458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23" y="13218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1.48148E-6 L 0.23941 0.28843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62" y="144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5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5" grpId="0" animBg="1"/>
      <p:bldP spid="16" grpId="0" animBg="1"/>
      <p:bldP spid="43" grpId="0" animBg="1"/>
      <p:bldP spid="44" grpId="0" animBg="1"/>
    </p:bld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Rebase vs merge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4</a:t>
            </a:fld>
            <a:endParaRPr lang="en-US" altLang="zh-TW" dirty="0"/>
          </a:p>
        </p:txBody>
      </p:sp>
      <p:pic>
        <p:nvPicPr>
          <p:cNvPr id="47106" name="Picture 2" descr="å°å¥éæ¹çä¿®æ¹çåä½µæäº¤">
            <a:extLst>
              <a:ext uri="{FF2B5EF4-FFF2-40B4-BE49-F238E27FC236}">
                <a16:creationId xmlns:a16="http://schemas.microsoft.com/office/drawing/2014/main" id="{DE0C409F-2886-43D9-851B-5E110D7A4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4080" y="3064122"/>
            <a:ext cx="5314950" cy="128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8" name="Picture 4" descr="åæ¯">
            <a:extLst>
              <a:ext uri="{FF2B5EF4-FFF2-40B4-BE49-F238E27FC236}">
                <a16:creationId xmlns:a16="http://schemas.microsoft.com/office/drawing/2014/main" id="{60D5667E-F232-4C3B-9B39-C0A93CF3C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028" y="1278841"/>
            <a:ext cx="3552825" cy="128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12" name="Picture 8" descr="ä½¿ç¨rebaseåä½µåæ¯">
            <a:extLst>
              <a:ext uri="{FF2B5EF4-FFF2-40B4-BE49-F238E27FC236}">
                <a16:creationId xmlns:a16="http://schemas.microsoft.com/office/drawing/2014/main" id="{577DDD98-36D1-4398-923F-74EBDE6D8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0447" y="5089799"/>
            <a:ext cx="5524500" cy="126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648605"/>
      </p:ext>
    </p:extLst>
  </p:cSld>
  <p:clrMapOvr>
    <a:masterClrMapping/>
  </p:clrMapOvr>
  <p:transition spd="slow">
    <p:zoom dir="in"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Rebase</a:t>
            </a:r>
            <a:r>
              <a:rPr lang="zh-TW" altLang="en-US" dirty="0"/>
              <a:t>使用時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5</a:t>
            </a:fld>
            <a:endParaRPr lang="en-US" altLang="zh-TW" dirty="0"/>
          </a:p>
        </p:txBody>
      </p:sp>
      <p:sp>
        <p:nvSpPr>
          <p:cNvPr id="7" name="內容版面配置區 1">
            <a:extLst>
              <a:ext uri="{FF2B5EF4-FFF2-40B4-BE49-F238E27FC236}">
                <a16:creationId xmlns:a16="http://schemas.microsoft.com/office/drawing/2014/main" id="{DC223A48-D28D-496B-B55B-FFC7F05D66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900" y="1542366"/>
            <a:ext cx="8077200" cy="4525963"/>
          </a:xfrm>
        </p:spPr>
        <p:txBody>
          <a:bodyPr/>
          <a:lstStyle/>
          <a:p>
            <a:r>
              <a:rPr lang="zh-TW" altLang="en-US" dirty="0"/>
              <a:t>整理未推出去</a:t>
            </a:r>
            <a:r>
              <a:rPr lang="en-US" altLang="zh-TW" dirty="0"/>
              <a:t>(push)</a:t>
            </a:r>
            <a:r>
              <a:rPr lang="zh-TW" altLang="en-US" dirty="0"/>
              <a:t>的</a:t>
            </a:r>
            <a:r>
              <a:rPr lang="en-US" altLang="zh-TW" dirty="0"/>
              <a:t>commit</a:t>
            </a:r>
          </a:p>
          <a:p>
            <a:endParaRPr lang="en-US" altLang="zh-TW" dirty="0"/>
          </a:p>
          <a:p>
            <a:r>
              <a:rPr lang="zh-TW" altLang="en-US" dirty="0"/>
              <a:t>與遠端版本庫發生衝突時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19141263"/>
      </p:ext>
    </p:extLst>
  </p:cSld>
  <p:clrMapOvr>
    <a:masterClrMapping/>
  </p:clrMapOvr>
  <p:transition spd="slow">
    <p:zoom dir="in"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合併解衝突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6</a:t>
            </a:fld>
            <a:endParaRPr lang="en-US" altLang="zh-TW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7118E60-D5FC-4318-A55E-B0D5247C5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1738312"/>
            <a:ext cx="2552700" cy="3381375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4C4C08BB-7E69-4040-81EC-440784B6A2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0" y="1738312"/>
            <a:ext cx="2552700" cy="3314700"/>
          </a:xfrm>
          <a:prstGeom prst="rect">
            <a:avLst/>
          </a:prstGeom>
        </p:spPr>
      </p:pic>
      <p:sp>
        <p:nvSpPr>
          <p:cNvPr id="8" name="箭號: 向右 7">
            <a:extLst>
              <a:ext uri="{FF2B5EF4-FFF2-40B4-BE49-F238E27FC236}">
                <a16:creationId xmlns:a16="http://schemas.microsoft.com/office/drawing/2014/main" id="{F2B5725A-B18F-4947-B3FC-C651DD6C7B86}"/>
              </a:ext>
            </a:extLst>
          </p:cNvPr>
          <p:cNvSpPr/>
          <p:nvPr/>
        </p:nvSpPr>
        <p:spPr bwMode="auto">
          <a:xfrm>
            <a:off x="3715365" y="2782669"/>
            <a:ext cx="914400" cy="646331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箭號: 向右 8">
            <a:extLst>
              <a:ext uri="{FF2B5EF4-FFF2-40B4-BE49-F238E27FC236}">
                <a16:creationId xmlns:a16="http://schemas.microsoft.com/office/drawing/2014/main" id="{86FE2339-E87A-4D87-8875-0229711DE81E}"/>
              </a:ext>
            </a:extLst>
          </p:cNvPr>
          <p:cNvSpPr/>
          <p:nvPr/>
        </p:nvSpPr>
        <p:spPr bwMode="auto">
          <a:xfrm rot="10800000">
            <a:off x="4791382" y="2835851"/>
            <a:ext cx="914400" cy="646331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0" name="爆炸: 八角 9">
            <a:extLst>
              <a:ext uri="{FF2B5EF4-FFF2-40B4-BE49-F238E27FC236}">
                <a16:creationId xmlns:a16="http://schemas.microsoft.com/office/drawing/2014/main" id="{68353044-9907-4D89-8491-308F4CDA4119}"/>
              </a:ext>
            </a:extLst>
          </p:cNvPr>
          <p:cNvSpPr/>
          <p:nvPr/>
        </p:nvSpPr>
        <p:spPr bwMode="auto">
          <a:xfrm>
            <a:off x="4352619" y="2726015"/>
            <a:ext cx="759638" cy="759638"/>
          </a:xfrm>
          <a:prstGeom prst="irregularSeal1">
            <a:avLst/>
          </a:prstGeom>
          <a:solidFill>
            <a:srgbClr val="FFFF00"/>
          </a:solidFill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728704028"/>
      </p:ext>
    </p:extLst>
  </p:cSld>
  <p:clrMapOvr>
    <a:masterClrMapping/>
  </p:clrMapOvr>
  <p:transition spd="slow">
    <p:zoom dir="in"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合併解衝突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7</a:t>
            </a:fld>
            <a:endParaRPr lang="en-US" altLang="zh-TW" dirty="0"/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882F4070-FD2F-4F92-90FD-978189F356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501749"/>
            <a:ext cx="2305050" cy="4181475"/>
          </a:xfrm>
          <a:prstGeom prst="rect">
            <a:avLst/>
          </a:prstGeom>
        </p:spPr>
      </p:pic>
      <p:sp>
        <p:nvSpPr>
          <p:cNvPr id="11" name="箭號: 向右 10">
            <a:extLst>
              <a:ext uri="{FF2B5EF4-FFF2-40B4-BE49-F238E27FC236}">
                <a16:creationId xmlns:a16="http://schemas.microsoft.com/office/drawing/2014/main" id="{E715A1C0-A08E-434E-AA94-E35D1BA32D72}"/>
              </a:ext>
            </a:extLst>
          </p:cNvPr>
          <p:cNvSpPr/>
          <p:nvPr/>
        </p:nvSpPr>
        <p:spPr bwMode="auto">
          <a:xfrm>
            <a:off x="4702277" y="3136765"/>
            <a:ext cx="914400" cy="646331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2" name="流程圖: 替代程序 11">
            <a:extLst>
              <a:ext uri="{FF2B5EF4-FFF2-40B4-BE49-F238E27FC236}">
                <a16:creationId xmlns:a16="http://schemas.microsoft.com/office/drawing/2014/main" id="{E33D4CF1-B61E-427A-9ABE-5C29CD098B8F}"/>
              </a:ext>
            </a:extLst>
          </p:cNvPr>
          <p:cNvSpPr/>
          <p:nvPr/>
        </p:nvSpPr>
        <p:spPr bwMode="auto">
          <a:xfrm>
            <a:off x="6096000" y="3112184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6270910"/>
      </p:ext>
    </p:extLst>
  </p:cSld>
  <p:clrMapOvr>
    <a:masterClrMapping/>
  </p:clrMapOvr>
  <p:transition spd="slow">
    <p:zoom dir="in"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b="1" kern="0" dirty="0" err="1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7990421"/>
      </p:ext>
    </p:extLst>
  </p:cSld>
  <p:clrMapOvr>
    <a:masterClrMapping/>
  </p:clrMapOvr>
  <p:transition>
    <p:fade thruBlk="1"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2">
            <a:extLst>
              <a:ext uri="{FF2B5EF4-FFF2-40B4-BE49-F238E27FC236}">
                <a16:creationId xmlns:a16="http://schemas.microsoft.com/office/drawing/2014/main" id="{C6361640-1897-49E9-955C-616CC0EE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475" y="1295400"/>
            <a:ext cx="3609123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  <a:t>Lab 3 </a:t>
            </a:r>
            <a:b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</a:br>
            <a: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</a:rPr>
              <a:t>git merge</a:t>
            </a:r>
            <a:b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</a:rPr>
            </a:br>
            <a: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</a:rPr>
              <a:t>practice</a:t>
            </a:r>
            <a:endParaRPr lang="zh-TW" altLang="en-US" sz="4200" kern="1200" dirty="0">
              <a:solidFill>
                <a:srgbClr val="954333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2290" name="Picture 2" descr="ãLab iconãçåçæå°çµæ">
            <a:extLst>
              <a:ext uri="{FF2B5EF4-FFF2-40B4-BE49-F238E27FC236}">
                <a16:creationId xmlns:a16="http://schemas.microsoft.com/office/drawing/2014/main" id="{AB9CEDD6-E0D8-41F6-A21C-D83177F09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5366" y="975391"/>
            <a:ext cx="4915159" cy="491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C7FB3F-F7D2-42B0-9C8B-7AECB9E451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93266" y="6356350"/>
            <a:ext cx="10220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59595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109</a:t>
            </a:fld>
            <a:endParaRPr lang="en-US" altLang="zh-TW">
              <a:solidFill>
                <a:srgbClr val="595959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73381575"/>
      </p:ext>
    </p:extLst>
  </p:cSld>
  <p:clrMapOvr>
    <a:masterClrMapping/>
  </p:clrMapOvr>
  <p:transition spd="slow">
    <p:zoom dir="in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>
            <a:extLst>
              <a:ext uri="{FF2B5EF4-FFF2-40B4-BE49-F238E27FC236}">
                <a16:creationId xmlns:a16="http://schemas.microsoft.com/office/drawing/2014/main" id="{1DC952BB-C1B6-4C5B-902E-9514C4CC38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742204306"/>
      </p:ext>
    </p:extLst>
  </p:cSld>
  <p:clrMapOvr>
    <a:masterClrMapping/>
  </p:clrMapOvr>
  <p:transition>
    <p:fade thruBlk="1"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C7FB3F-F7D2-42B0-9C8B-7AECB9E451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93266" y="6356350"/>
            <a:ext cx="10220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59595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110</a:t>
            </a:fld>
            <a:endParaRPr lang="en-US" altLang="zh-TW">
              <a:solidFill>
                <a:srgbClr val="595959"/>
              </a:solidFill>
              <a:latin typeface="+mn-lt"/>
              <a:ea typeface="+mn-ea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93DBBF6-8C7E-4A55-95F7-77F348F4FAD1}"/>
              </a:ext>
            </a:extLst>
          </p:cNvPr>
          <p:cNvSpPr/>
          <p:nvPr/>
        </p:nvSpPr>
        <p:spPr bwMode="auto">
          <a:xfrm>
            <a:off x="1211826" y="2255072"/>
            <a:ext cx="27813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pull origin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hw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ECD1055-4822-4083-91C5-72F90CC5AB32}"/>
              </a:ext>
            </a:extLst>
          </p:cNvPr>
          <p:cNvSpPr/>
          <p:nvPr/>
        </p:nvSpPr>
        <p:spPr bwMode="auto">
          <a:xfrm>
            <a:off x="1187244" y="3093272"/>
            <a:ext cx="2653481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mergin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hw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4AFD9A4-B403-49C4-BE02-BB04333C5FCF}"/>
              </a:ext>
            </a:extLst>
          </p:cNvPr>
          <p:cNvSpPr/>
          <p:nvPr/>
        </p:nvSpPr>
        <p:spPr bwMode="auto">
          <a:xfrm>
            <a:off x="1187244" y="4029795"/>
            <a:ext cx="2653481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push origin </a:t>
            </a:r>
            <a:r>
              <a:rPr kumimoji="0" lang="zh-TW" altLang="en-US" dirty="0">
                <a:solidFill>
                  <a:schemeClr val="tx1"/>
                </a:solidFill>
                <a:latin typeface="Arial" charset="0"/>
                <a:ea typeface="新細明體" charset="-120"/>
              </a:rPr>
              <a:t>工號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54BB944-0B32-433D-834C-AF1F2C98CC19}"/>
              </a:ext>
            </a:extLst>
          </p:cNvPr>
          <p:cNvSpPr/>
          <p:nvPr/>
        </p:nvSpPr>
        <p:spPr bwMode="auto">
          <a:xfrm>
            <a:off x="1219200" y="1371600"/>
            <a:ext cx="27813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heckout </a:t>
            </a:r>
            <a:r>
              <a:rPr kumimoji="0" lang="zh-TW" altLang="en-US" dirty="0">
                <a:solidFill>
                  <a:schemeClr val="tx1"/>
                </a:solidFill>
                <a:latin typeface="Arial" charset="0"/>
                <a:ea typeface="新細明體" charset="-120"/>
              </a:rPr>
              <a:t>工號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" name="直線接點 2">
            <a:extLst>
              <a:ext uri="{FF2B5EF4-FFF2-40B4-BE49-F238E27FC236}">
                <a16:creationId xmlns:a16="http://schemas.microsoft.com/office/drawing/2014/main" id="{3297A6A7-4993-4940-AD29-3D9E228BCE8F}"/>
              </a:ext>
            </a:extLst>
          </p:cNvPr>
          <p:cNvCxnSpPr>
            <a:cxnSpLocks/>
          </p:cNvCxnSpPr>
          <p:nvPr/>
        </p:nvCxnSpPr>
        <p:spPr bwMode="auto">
          <a:xfrm>
            <a:off x="4648200" y="1600200"/>
            <a:ext cx="1759974" cy="0"/>
          </a:xfrm>
          <a:prstGeom prst="line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" name="文字方塊 4">
            <a:extLst>
              <a:ext uri="{FF2B5EF4-FFF2-40B4-BE49-F238E27FC236}">
                <a16:creationId xmlns:a16="http://schemas.microsoft.com/office/drawing/2014/main" id="{9A9F4D51-4BDF-4FD1-A4F0-54AC0F9451DE}"/>
              </a:ext>
            </a:extLst>
          </p:cNvPr>
          <p:cNvSpPr txBox="1"/>
          <p:nvPr/>
        </p:nvSpPr>
        <p:spPr>
          <a:xfrm>
            <a:off x="4580687" y="1066800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000" b="1" dirty="0">
                <a:solidFill>
                  <a:srgbClr val="0F06BA"/>
                </a:solidFill>
              </a:rPr>
              <a:t>HW</a:t>
            </a:r>
            <a:r>
              <a:rPr lang="zh-TW" altLang="en-US" sz="2000" b="1" dirty="0">
                <a:solidFill>
                  <a:srgbClr val="0F06BA"/>
                </a:solidFill>
              </a:rPr>
              <a:t>分支</a:t>
            </a:r>
          </a:p>
        </p:txBody>
      </p:sp>
      <p:cxnSp>
        <p:nvCxnSpPr>
          <p:cNvPr id="11" name="直線接點 10">
            <a:extLst>
              <a:ext uri="{FF2B5EF4-FFF2-40B4-BE49-F238E27FC236}">
                <a16:creationId xmlns:a16="http://schemas.microsoft.com/office/drawing/2014/main" id="{C9034DF5-3630-4DA2-AB9A-F1FC11910222}"/>
              </a:ext>
            </a:extLst>
          </p:cNvPr>
          <p:cNvCxnSpPr/>
          <p:nvPr/>
        </p:nvCxnSpPr>
        <p:spPr bwMode="auto">
          <a:xfrm>
            <a:off x="4648200" y="3280662"/>
            <a:ext cx="2845066" cy="0"/>
          </a:xfrm>
          <a:prstGeom prst="line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88AB7E1D-D5AB-4D31-800B-82A802F6AB53}"/>
              </a:ext>
            </a:extLst>
          </p:cNvPr>
          <p:cNvSpPr txBox="1"/>
          <p:nvPr/>
        </p:nvSpPr>
        <p:spPr>
          <a:xfrm>
            <a:off x="4682412" y="2693162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000" b="1" dirty="0">
                <a:solidFill>
                  <a:srgbClr val="0F06BA"/>
                </a:solidFill>
              </a:rPr>
              <a:t>工號分支</a:t>
            </a:r>
          </a:p>
        </p:txBody>
      </p:sp>
      <p:cxnSp>
        <p:nvCxnSpPr>
          <p:cNvPr id="13" name="直線接點 12">
            <a:extLst>
              <a:ext uri="{FF2B5EF4-FFF2-40B4-BE49-F238E27FC236}">
                <a16:creationId xmlns:a16="http://schemas.microsoft.com/office/drawing/2014/main" id="{E64166E7-A07B-447B-8D4C-FF3DE1AC795B}"/>
              </a:ext>
            </a:extLst>
          </p:cNvPr>
          <p:cNvCxnSpPr>
            <a:cxnSpLocks/>
          </p:cNvCxnSpPr>
          <p:nvPr/>
        </p:nvCxnSpPr>
        <p:spPr bwMode="auto">
          <a:xfrm>
            <a:off x="6408174" y="1600200"/>
            <a:ext cx="1085092" cy="1680462"/>
          </a:xfrm>
          <a:prstGeom prst="line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橢圓 16">
            <a:extLst>
              <a:ext uri="{FF2B5EF4-FFF2-40B4-BE49-F238E27FC236}">
                <a16:creationId xmlns:a16="http://schemas.microsoft.com/office/drawing/2014/main" id="{30333E2C-3EF1-41B0-B790-ADC55BE70B1E}"/>
              </a:ext>
            </a:extLst>
          </p:cNvPr>
          <p:cNvSpPr/>
          <p:nvPr/>
        </p:nvSpPr>
        <p:spPr bwMode="auto">
          <a:xfrm>
            <a:off x="7326461" y="3087052"/>
            <a:ext cx="326513" cy="326513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0C417B15-8576-4B24-94F3-011B9F141688}"/>
              </a:ext>
            </a:extLst>
          </p:cNvPr>
          <p:cNvSpPr txBox="1"/>
          <p:nvPr/>
        </p:nvSpPr>
        <p:spPr>
          <a:xfrm>
            <a:off x="7652974" y="3028890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000" b="1" dirty="0">
                <a:solidFill>
                  <a:srgbClr val="0F06BA"/>
                </a:solidFill>
              </a:rPr>
              <a:t>合併</a:t>
            </a:r>
          </a:p>
        </p:txBody>
      </p:sp>
    </p:spTree>
    <p:extLst>
      <p:ext uri="{BB962C8B-B14F-4D97-AF65-F5344CB8AC3E}">
        <p14:creationId xmlns:p14="http://schemas.microsoft.com/office/powerpoint/2010/main" val="900338727"/>
      </p:ext>
    </p:extLst>
  </p:cSld>
  <p:clrMapOvr>
    <a:masterClrMapping/>
  </p:clrMapOvr>
  <p:transition spd="slow">
    <p:zoom dir="in"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58839568"/>
      </p:ext>
    </p:extLst>
  </p:cSld>
  <p:clrMapOvr>
    <a:masterClrMapping/>
  </p:clrMapOvr>
  <p:transition>
    <p:fade thruBlk="1"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>
            <a:extLst>
              <a:ext uri="{FF2B5EF4-FFF2-40B4-BE49-F238E27FC236}">
                <a16:creationId xmlns:a16="http://schemas.microsoft.com/office/drawing/2014/main" id="{6509C8E6-C60D-4419-A155-811477AFE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6400" y="389041"/>
            <a:ext cx="3476625" cy="5581650"/>
          </a:xfrm>
          <a:prstGeom prst="rect">
            <a:avLst/>
          </a:prstGeom>
        </p:spPr>
      </p:pic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lab Ground Rules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12</a:t>
            </a:fld>
            <a:endParaRPr lang="en-US" altLang="zh-TW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FC8DF02-D671-4875-A9D3-1FBAB516926E}"/>
              </a:ext>
            </a:extLst>
          </p:cNvPr>
          <p:cNvSpPr/>
          <p:nvPr/>
        </p:nvSpPr>
        <p:spPr>
          <a:xfrm>
            <a:off x="304800" y="1604745"/>
            <a:ext cx="88392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Trebuchet MS" panose="020B0603020202020204" pitchFamily="34" charset="0"/>
              </a:rPr>
              <a:t>　</a:t>
            </a:r>
            <a:r>
              <a:rPr lang="en-US" altLang="zh-TW" sz="2800" dirty="0">
                <a:latin typeface="Trebuchet MS" panose="020B0603020202020204" pitchFamily="34" charset="0"/>
              </a:rPr>
              <a:t>Group base</a:t>
            </a:r>
            <a:br>
              <a:rPr lang="en-US" altLang="zh-TW" sz="2800" dirty="0">
                <a:latin typeface="Trebuchet MS" panose="020B0603020202020204" pitchFamily="34" charset="0"/>
              </a:rPr>
            </a:br>
            <a:endParaRPr lang="en-US" altLang="zh-TW" sz="2800" dirty="0">
              <a:latin typeface="Trebuchet MS" panose="020B0603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TW" altLang="en-US" sz="2800" b="0" i="0" dirty="0">
                <a:effectLst/>
                <a:latin typeface="Trebuchet MS" panose="020B0603020202020204" pitchFamily="34" charset="0"/>
              </a:rPr>
              <a:t>　存有帳號密碼相關不上</a:t>
            </a:r>
            <a:r>
              <a:rPr lang="en-US" altLang="zh-TW" sz="2800" b="0" i="0" dirty="0">
                <a:effectLst/>
                <a:latin typeface="Trebuchet MS" panose="020B0603020202020204" pitchFamily="34" charset="0"/>
              </a:rPr>
              <a:t>git</a:t>
            </a:r>
            <a:br>
              <a:rPr lang="en-US" altLang="zh-TW" sz="2800" b="0" i="0" dirty="0">
                <a:effectLst/>
                <a:latin typeface="Trebuchet MS" panose="020B0603020202020204" pitchFamily="34" charset="0"/>
              </a:rPr>
            </a:br>
            <a:endParaRPr lang="en-US" altLang="zh-TW" sz="2800" dirty="0">
              <a:latin typeface="Trebuchet MS" panose="020B0603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Trebuchet MS" panose="020B0603020202020204" pitchFamily="34" charset="0"/>
              </a:rPr>
              <a:t>　透過</a:t>
            </a:r>
            <a:r>
              <a:rPr lang="en-US" altLang="zh-TW" sz="2800" dirty="0">
                <a:latin typeface="Trebuchet MS" panose="020B0603020202020204" pitchFamily="34" charset="0"/>
              </a:rPr>
              <a:t>Rule Permissions </a:t>
            </a:r>
            <a:br>
              <a:rPr lang="en-US" altLang="zh-TW" sz="2800" dirty="0">
                <a:latin typeface="Trebuchet MS" panose="020B0603020202020204" pitchFamily="34" charset="0"/>
              </a:rPr>
            </a:br>
            <a:r>
              <a:rPr lang="zh-TW" altLang="en-US" sz="2800" dirty="0">
                <a:latin typeface="Trebuchet MS" panose="020B0603020202020204" pitchFamily="34" charset="0"/>
              </a:rPr>
              <a:t>　 確保</a:t>
            </a:r>
            <a:r>
              <a:rPr lang="en-US" altLang="zh-TW" sz="2800" dirty="0">
                <a:latin typeface="Trebuchet MS" panose="020B0603020202020204" pitchFamily="34" charset="0"/>
              </a:rPr>
              <a:t>Branch</a:t>
            </a:r>
            <a:r>
              <a:rPr lang="zh-TW" altLang="en-US" sz="2800" dirty="0">
                <a:latin typeface="Trebuchet MS" panose="020B0603020202020204" pitchFamily="34" charset="0"/>
              </a:rPr>
              <a:t>安全性</a:t>
            </a:r>
            <a:endParaRPr lang="zh-TW" altLang="en-US" sz="2800" b="0" i="0" dirty="0">
              <a:effectLst/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590516"/>
      </p:ext>
    </p:extLst>
  </p:cSld>
  <p:clrMapOvr>
    <a:masterClrMapping/>
  </p:clrMapOvr>
  <p:transition spd="slow">
    <p:zoom dir="in"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7697" y="279473"/>
            <a:ext cx="7848600" cy="646331"/>
          </a:xfrm>
        </p:spPr>
        <p:txBody>
          <a:bodyPr/>
          <a:lstStyle/>
          <a:p>
            <a:r>
              <a:rPr lang="en-US" altLang="zh-TW" dirty="0"/>
              <a:t>Gitlab Flow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13</a:t>
            </a:fld>
            <a:endParaRPr lang="en-US" altLang="zh-TW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8DF9AF64-F13E-4BA1-B147-7CA325E0E103}"/>
              </a:ext>
            </a:extLst>
          </p:cNvPr>
          <p:cNvSpPr/>
          <p:nvPr/>
        </p:nvSpPr>
        <p:spPr>
          <a:xfrm>
            <a:off x="867697" y="913514"/>
            <a:ext cx="8839200" cy="5830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使用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feature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分支，</a:t>
            </a:r>
            <a:b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需經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ode Review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才可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ommit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進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aste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要求所有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ommit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都要測試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不只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aster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自動部署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基於分支或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Tag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Tag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靠人工加註而非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I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已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Push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ommit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不得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Rebase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每個人都從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aster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開始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修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Bug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順序先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aster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再 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release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　</a:t>
            </a:r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ommit </a:t>
            </a:r>
            <a:r>
              <a:rPr lang="zh-TW" altLang="en-US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訊息要明確說明用意</a:t>
            </a:r>
            <a:endParaRPr lang="zh-TW" altLang="en-US" sz="2800" b="0" i="0" dirty="0"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46135183"/>
      </p:ext>
    </p:extLst>
  </p:cSld>
  <p:clrMapOvr>
    <a:masterClrMapping/>
  </p:clrMapOvr>
  <p:transition spd="slow">
    <p:zoom dir="in"/>
  </p:transition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386" name="Rectangle 2"/>
          <p:cNvSpPr>
            <a:spLocks noChangeArrowheads="1"/>
          </p:cNvSpPr>
          <p:nvPr/>
        </p:nvSpPr>
        <p:spPr bwMode="auto">
          <a:xfrm>
            <a:off x="2209800" y="5029202"/>
            <a:ext cx="4572000" cy="1055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TW" sz="5400" b="1" i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Thank You !</a:t>
            </a:r>
            <a:endParaRPr lang="en-US" altLang="zh-CN" sz="5400" b="1" i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784387" name="Picture 3" descr="smile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92" b="8990"/>
          <a:stretch>
            <a:fillRect/>
          </a:stretch>
        </p:blipFill>
        <p:spPr bwMode="auto">
          <a:xfrm>
            <a:off x="2551236" y="1572359"/>
            <a:ext cx="3889131" cy="345684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6542736"/>
      </p:ext>
    </p:extLst>
  </p:cSld>
  <p:clrMapOvr>
    <a:masterClrMapping/>
  </p:clrMapOvr>
  <p:transition>
    <p:fade thruBlk="1"/>
  </p:transition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CB37D7-9B9A-4D0E-AEAE-700AC7DF23EC}" type="slidenum">
              <a:rPr lang="en-US" altLang="zh-TW" smtClean="0"/>
              <a:pPr>
                <a:defRPr/>
              </a:pPr>
              <a:t>115</a:t>
            </a:fld>
            <a:endParaRPr lang="en-US" altLang="zh-TW" dirty="0"/>
          </a:p>
        </p:txBody>
      </p:sp>
      <p:sp>
        <p:nvSpPr>
          <p:cNvPr id="3" name="文字方塊 2"/>
          <p:cNvSpPr txBox="1"/>
          <p:nvPr/>
        </p:nvSpPr>
        <p:spPr>
          <a:xfrm>
            <a:off x="3657600" y="2667000"/>
            <a:ext cx="2108269" cy="646331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n-US" altLang="zh-TW" sz="3600" dirty="0">
                <a:solidFill>
                  <a:schemeClr val="bg1"/>
                </a:solidFill>
              </a:rPr>
              <a:t>Appendix</a:t>
            </a:r>
            <a:endParaRPr lang="zh-TW" alt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287302"/>
      </p:ext>
    </p:extLst>
  </p:cSld>
  <p:clrMapOvr>
    <a:masterClrMapping/>
  </p:clrMapOvr>
  <p:transition spd="slow">
    <p:zoom dir="in"/>
  </p:transition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F6E584F3-590A-4F38-90FA-66386167B0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CB37D7-9B9A-4D0E-AEAE-700AC7DF23EC}" type="slidenum">
              <a:rPr lang="en-US" altLang="zh-TW" smtClean="0"/>
              <a:pPr>
                <a:defRPr/>
              </a:pPr>
              <a:t>116</a:t>
            </a:fld>
            <a:endParaRPr lang="en-US" altLang="zh-TW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B34F6E42-EA61-4926-BBFF-A252112C5C9D}"/>
              </a:ext>
            </a:extLst>
          </p:cNvPr>
          <p:cNvSpPr txBox="1">
            <a:spLocks/>
          </p:cNvSpPr>
          <p:nvPr/>
        </p:nvSpPr>
        <p:spPr>
          <a:xfrm>
            <a:off x="838200" y="411164"/>
            <a:ext cx="7848600" cy="64633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zh-TW" altLang="en-US" kern="0" dirty="0"/>
              <a:t>參考資料</a:t>
            </a:r>
          </a:p>
        </p:txBody>
      </p:sp>
      <p:sp>
        <p:nvSpPr>
          <p:cNvPr id="4" name="內容版面配置區 1">
            <a:extLst>
              <a:ext uri="{FF2B5EF4-FFF2-40B4-BE49-F238E27FC236}">
                <a16:creationId xmlns:a16="http://schemas.microsoft.com/office/drawing/2014/main" id="{7908E8A4-559F-4D16-AFCA-A950AFCF5BDA}"/>
              </a:ext>
            </a:extLst>
          </p:cNvPr>
          <p:cNvSpPr txBox="1">
            <a:spLocks/>
          </p:cNvSpPr>
          <p:nvPr/>
        </p:nvSpPr>
        <p:spPr>
          <a:xfrm>
            <a:off x="838200" y="1387794"/>
            <a:ext cx="8077200" cy="4525963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endParaRPr lang="en-US" altLang="zh-TW" sz="2000" kern="0" dirty="0"/>
          </a:p>
          <a:p>
            <a:r>
              <a:rPr lang="en-US" altLang="zh-TW" sz="2000" kern="0" dirty="0"/>
              <a:t>GIT</a:t>
            </a:r>
            <a:r>
              <a:rPr lang="zh-TW" altLang="en-US" sz="2000" kern="0" dirty="0"/>
              <a:t>入門原理</a:t>
            </a:r>
            <a:endParaRPr lang="en-US" altLang="zh-TW" sz="2000" kern="0" dirty="0"/>
          </a:p>
          <a:p>
            <a:r>
              <a:rPr lang="en-US" altLang="zh-TW" sz="2000" dirty="0">
                <a:hlinkClick r:id="rId2"/>
              </a:rPr>
              <a:t>https://ithelp.ithome.com.tw/articles/10190453</a:t>
            </a:r>
            <a:endParaRPr lang="en-US" altLang="zh-TW" sz="2000" dirty="0"/>
          </a:p>
          <a:p>
            <a:endParaRPr lang="en-US" altLang="zh-TW" sz="2000" kern="0" dirty="0"/>
          </a:p>
          <a:p>
            <a:r>
              <a:rPr lang="zh-TW" altLang="en-US" sz="2000" kern="0" dirty="0"/>
              <a:t>為你自己學 </a:t>
            </a:r>
            <a:r>
              <a:rPr lang="en-US" altLang="zh-TW" sz="2000" kern="0" dirty="0"/>
              <a:t>Git</a:t>
            </a:r>
          </a:p>
          <a:p>
            <a:r>
              <a:rPr lang="en-US" altLang="zh-TW" sz="2000" dirty="0">
                <a:hlinkClick r:id="rId3"/>
              </a:rPr>
              <a:t>https://gitbook.tw/</a:t>
            </a:r>
            <a:endParaRPr lang="en-US" altLang="zh-TW" sz="2000" dirty="0"/>
          </a:p>
          <a:p>
            <a:endParaRPr lang="en-US" altLang="zh-TW" sz="2000" kern="0" dirty="0"/>
          </a:p>
          <a:p>
            <a:r>
              <a:rPr lang="zh-TW" altLang="en-US" sz="2000" kern="0" dirty="0"/>
              <a:t>寫給大家的 </a:t>
            </a:r>
            <a:r>
              <a:rPr lang="en-US" altLang="zh-TW" sz="2000" kern="0" dirty="0"/>
              <a:t>Git </a:t>
            </a:r>
            <a:r>
              <a:rPr lang="zh-TW" altLang="en-US" sz="2000" kern="0" dirty="0"/>
              <a:t>教學</a:t>
            </a:r>
            <a:endParaRPr lang="en-US" altLang="zh-TW" sz="2000" kern="0" dirty="0"/>
          </a:p>
          <a:p>
            <a:r>
              <a:rPr lang="en-US" altLang="zh-TW" sz="2000" dirty="0">
                <a:hlinkClick r:id="rId4"/>
              </a:rPr>
              <a:t>https://www.slideshare.net/littlebtc/git-5528339</a:t>
            </a:r>
            <a:endParaRPr lang="en-US" altLang="zh-TW" sz="2000" dirty="0"/>
          </a:p>
          <a:p>
            <a:endParaRPr lang="en-US" altLang="zh-TW" sz="2000" kern="0" dirty="0"/>
          </a:p>
          <a:p>
            <a:r>
              <a:rPr lang="zh-TW" altLang="en-US" sz="2000" kern="0" dirty="0"/>
              <a:t>連猴子都能懂的</a:t>
            </a:r>
            <a:r>
              <a:rPr lang="en-US" altLang="zh-TW" sz="2000" kern="0" dirty="0"/>
              <a:t>GIT</a:t>
            </a:r>
            <a:r>
              <a:rPr lang="zh-TW" altLang="en-US" sz="2000" kern="0" dirty="0"/>
              <a:t>入門指南</a:t>
            </a:r>
            <a:endParaRPr lang="en-US" altLang="zh-TW" sz="2000" kern="0" dirty="0"/>
          </a:p>
          <a:p>
            <a:r>
              <a:rPr lang="en-US" altLang="zh-TW" sz="2000" dirty="0">
                <a:hlinkClick r:id="rId5"/>
              </a:rPr>
              <a:t>https://backlog.com/git-tutorial/tw/</a:t>
            </a:r>
            <a:endParaRPr lang="en-US" altLang="zh-TW" sz="2000" kern="0" dirty="0"/>
          </a:p>
          <a:p>
            <a:endParaRPr lang="zh-TW" alt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3420219221"/>
      </p:ext>
    </p:extLst>
  </p:cSld>
  <p:clrMapOvr>
    <a:masterClrMapping/>
  </p:clrMapOvr>
  <p:transition spd="slow">
    <p:zoom dir="in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2">
            <a:extLst>
              <a:ext uri="{FF2B5EF4-FFF2-40B4-BE49-F238E27FC236}">
                <a16:creationId xmlns:a16="http://schemas.microsoft.com/office/drawing/2014/main" id="{C6361640-1897-49E9-955C-616CC0EE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677" y="914400"/>
            <a:ext cx="27432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  <a:t>Lab 1 </a:t>
            </a:r>
            <a:b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</a:br>
            <a: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  <a:t>Git</a:t>
            </a:r>
            <a:r>
              <a:rPr lang="zh-TW" altLang="en-US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  <a:t>初體驗</a:t>
            </a:r>
          </a:p>
        </p:txBody>
      </p:sp>
      <p:pic>
        <p:nvPicPr>
          <p:cNvPr id="12290" name="Picture 2" descr="ãLab iconãçåçæå°çµæ">
            <a:extLst>
              <a:ext uri="{FF2B5EF4-FFF2-40B4-BE49-F238E27FC236}">
                <a16:creationId xmlns:a16="http://schemas.microsoft.com/office/drawing/2014/main" id="{AB9CEDD6-E0D8-41F6-A21C-D83177F09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5366" y="975391"/>
            <a:ext cx="4915159" cy="491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C7FB3F-F7D2-42B0-9C8B-7AECB9E451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93266" y="6356350"/>
            <a:ext cx="10220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59595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12</a:t>
            </a:fld>
            <a:endParaRPr lang="en-US" altLang="zh-TW">
              <a:solidFill>
                <a:srgbClr val="595959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36547338"/>
      </p:ext>
    </p:extLst>
  </p:cSld>
  <p:clrMapOvr>
    <a:masterClrMapping/>
  </p:clrMapOvr>
  <p:transition spd="slow">
    <p:zoom dir="in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ACF48F6-F4C9-4A0D-AAC6-2532024D1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先體會一下</a:t>
            </a:r>
            <a:r>
              <a:rPr lang="en-US" altLang="zh-TW" dirty="0"/>
              <a:t>GIT (1)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3</a:t>
            </a:fld>
            <a:endParaRPr lang="en-US" altLang="zh-TW" dirty="0"/>
          </a:p>
        </p:txBody>
      </p:sp>
      <p:pic>
        <p:nvPicPr>
          <p:cNvPr id="10242" name="Picture 2" descr="ãcomputer iconãçåçæå°çµæ">
            <a:extLst>
              <a:ext uri="{FF2B5EF4-FFF2-40B4-BE49-F238E27FC236}">
                <a16:creationId xmlns:a16="http://schemas.microsoft.com/office/drawing/2014/main" id="{03C4F91D-9DD7-4958-B543-AF6061D37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100" y="746770"/>
            <a:ext cx="6248400" cy="624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ãfolder iconãçåçæå°çµæ">
            <a:extLst>
              <a:ext uri="{FF2B5EF4-FFF2-40B4-BE49-F238E27FC236}">
                <a16:creationId xmlns:a16="http://schemas.microsoft.com/office/drawing/2014/main" id="{BF869E7E-777E-4AF8-95DC-480D442CE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100" y="2924175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ãfolder iconãçåçæå°çµæ">
            <a:extLst>
              <a:ext uri="{FF2B5EF4-FFF2-40B4-BE49-F238E27FC236}">
                <a16:creationId xmlns:a16="http://schemas.microsoft.com/office/drawing/2014/main" id="{6349F344-E4A6-4A6C-B9F1-4D2BBCF223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967" y="1593983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ãfolder iconãçåçæå°çµæ">
            <a:extLst>
              <a:ext uri="{FF2B5EF4-FFF2-40B4-BE49-F238E27FC236}">
                <a16:creationId xmlns:a16="http://schemas.microsoft.com/office/drawing/2014/main" id="{4D745A8A-D4F0-4E8B-8C9F-767622B62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125" y="2907034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內容版面配置區 1">
            <a:extLst>
              <a:ext uri="{FF2B5EF4-FFF2-40B4-BE49-F238E27FC236}">
                <a16:creationId xmlns:a16="http://schemas.microsoft.com/office/drawing/2014/main" id="{3BF17A48-99C2-4388-842F-8FDD4CABA2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4967" y="3736033"/>
            <a:ext cx="1524000" cy="533398"/>
          </a:xfrm>
        </p:spPr>
        <p:txBody>
          <a:bodyPr/>
          <a:lstStyle/>
          <a:p>
            <a:pPr marL="0" indent="0">
              <a:buNone/>
            </a:pPr>
            <a:r>
              <a:rPr lang="en-US" altLang="zh-TW" dirty="0" err="1"/>
              <a:t>localA</a:t>
            </a:r>
            <a:endParaRPr lang="zh-TW" altLang="en-US" dirty="0"/>
          </a:p>
        </p:txBody>
      </p:sp>
      <p:sp>
        <p:nvSpPr>
          <p:cNvPr id="11" name="內容版面配置區 1">
            <a:extLst>
              <a:ext uri="{FF2B5EF4-FFF2-40B4-BE49-F238E27FC236}">
                <a16:creationId xmlns:a16="http://schemas.microsoft.com/office/drawing/2014/main" id="{80755106-A21E-4476-9E67-9F6C2A22F997}"/>
              </a:ext>
            </a:extLst>
          </p:cNvPr>
          <p:cNvSpPr txBox="1">
            <a:spLocks/>
          </p:cNvSpPr>
          <p:nvPr/>
        </p:nvSpPr>
        <p:spPr bwMode="auto">
          <a:xfrm>
            <a:off x="3870842" y="2367419"/>
            <a:ext cx="15240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kern="0" dirty="0"/>
              <a:t>remote</a:t>
            </a:r>
            <a:endParaRPr lang="zh-TW" altLang="en-US" kern="0" dirty="0"/>
          </a:p>
        </p:txBody>
      </p:sp>
      <p:sp>
        <p:nvSpPr>
          <p:cNvPr id="12" name="內容版面配置區 1">
            <a:extLst>
              <a:ext uri="{FF2B5EF4-FFF2-40B4-BE49-F238E27FC236}">
                <a16:creationId xmlns:a16="http://schemas.microsoft.com/office/drawing/2014/main" id="{4A9F7168-806E-40D7-9F40-0A3666DB9BA7}"/>
              </a:ext>
            </a:extLst>
          </p:cNvPr>
          <p:cNvSpPr txBox="1">
            <a:spLocks/>
          </p:cNvSpPr>
          <p:nvPr/>
        </p:nvSpPr>
        <p:spPr bwMode="auto">
          <a:xfrm>
            <a:off x="5473473" y="3718892"/>
            <a:ext cx="15240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kern="0" dirty="0" err="1"/>
              <a:t>localB</a:t>
            </a:r>
            <a:endParaRPr lang="zh-TW" altLang="en-US" kern="0" dirty="0"/>
          </a:p>
        </p:txBody>
      </p:sp>
      <p:pic>
        <p:nvPicPr>
          <p:cNvPr id="10246" name="Picture 6" descr="ãtext iconãçåçæå°çµæ">
            <a:extLst>
              <a:ext uri="{FF2B5EF4-FFF2-40B4-BE49-F238E27FC236}">
                <a16:creationId xmlns:a16="http://schemas.microsoft.com/office/drawing/2014/main" id="{374BB0B7-C628-41EA-A4C0-98C9E266F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224" y="261937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ãarrow iconãçåçæå°çµæ">
            <a:extLst>
              <a:ext uri="{FF2B5EF4-FFF2-40B4-BE49-F238E27FC236}">
                <a16:creationId xmlns:a16="http://schemas.microsoft.com/office/drawing/2014/main" id="{084A4723-4274-4267-81CF-259D70ABD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190" y="2696285"/>
            <a:ext cx="725261" cy="48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ç¸éåç">
            <a:extLst>
              <a:ext uri="{FF2B5EF4-FFF2-40B4-BE49-F238E27FC236}">
                <a16:creationId xmlns:a16="http://schemas.microsoft.com/office/drawing/2014/main" id="{0FA1B84F-392D-46FB-8F17-CCF62DA984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119798">
            <a:off x="3764105" y="2938324"/>
            <a:ext cx="581301" cy="581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ç¸éåç">
            <a:extLst>
              <a:ext uri="{FF2B5EF4-FFF2-40B4-BE49-F238E27FC236}">
                <a16:creationId xmlns:a16="http://schemas.microsoft.com/office/drawing/2014/main" id="{79FD0509-D466-4640-91E6-76C6CBECA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478212">
            <a:off x="4879802" y="2984792"/>
            <a:ext cx="581301" cy="581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C943A053-1FF9-413E-ADD4-089E71BA6AB9}"/>
              </a:ext>
            </a:extLst>
          </p:cNvPr>
          <p:cNvSpPr/>
          <p:nvPr/>
        </p:nvSpPr>
        <p:spPr bwMode="auto">
          <a:xfrm>
            <a:off x="6126421" y="589089"/>
            <a:ext cx="2910958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init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 --bare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remote.g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33417AB9-9637-4AC4-8523-FE8DFFDB0085}"/>
              </a:ext>
            </a:extLst>
          </p:cNvPr>
          <p:cNvSpPr/>
          <p:nvPr/>
        </p:nvSpPr>
        <p:spPr bwMode="auto">
          <a:xfrm>
            <a:off x="79062" y="4643995"/>
            <a:ext cx="4534730" cy="167204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init</a:t>
            </a:r>
            <a:endParaRPr kumimoji="0" lang="en-US" altLang="zh-TW" dirty="0">
              <a:solidFill>
                <a:schemeClr val="tx1"/>
              </a:solidFill>
              <a:latin typeface="Arial" charset="0"/>
              <a:ea typeface="新細明體" charset="-120"/>
            </a:endParaRP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status</a:t>
            </a:r>
          </a:p>
          <a:p>
            <a:pPr eaLnBrk="0" hangingPunct="0"/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add lab1.txt</a:t>
            </a: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 -m "git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init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"</a:t>
            </a:r>
            <a:endParaRPr kumimoji="0" lang="en-US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  <a:p>
            <a:pPr eaLnBrk="0" hangingPunct="0"/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remote add witlab01 “xxx/</a:t>
            </a:r>
            <a:r>
              <a:rPr kumimoji="0" lang="en-US" altLang="zh-TW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.git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“</a:t>
            </a: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push witlab01 master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83D72AB0-E80C-4092-9478-855CE3F30B91}"/>
              </a:ext>
            </a:extLst>
          </p:cNvPr>
          <p:cNvSpPr/>
          <p:nvPr/>
        </p:nvSpPr>
        <p:spPr bwMode="auto">
          <a:xfrm>
            <a:off x="4826996" y="4613078"/>
            <a:ext cx="4128507" cy="115314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clone “xxx/</a:t>
            </a:r>
            <a:r>
              <a:rPr kumimoji="0" lang="en-US" altLang="zh-TW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.git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“</a:t>
            </a: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pull</a:t>
            </a:r>
          </a:p>
          <a:p>
            <a:pPr eaLnBrk="0" hangingPunct="0"/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blame lab1.tx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4101630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ACF48F6-F4C9-4A0D-AAC6-2532024D1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先體會一下</a:t>
            </a:r>
            <a:r>
              <a:rPr lang="en-US" altLang="zh-TW" dirty="0"/>
              <a:t>GIT (2)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4</a:t>
            </a:fld>
            <a:endParaRPr lang="en-US" altLang="zh-TW" dirty="0"/>
          </a:p>
        </p:txBody>
      </p:sp>
      <p:pic>
        <p:nvPicPr>
          <p:cNvPr id="10242" name="Picture 2" descr="ãcomputer iconãçåçæå°çµæ">
            <a:extLst>
              <a:ext uri="{FF2B5EF4-FFF2-40B4-BE49-F238E27FC236}">
                <a16:creationId xmlns:a16="http://schemas.microsoft.com/office/drawing/2014/main" id="{03C4F91D-9DD7-4958-B543-AF6061D37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100" y="2133600"/>
            <a:ext cx="6248400" cy="486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ãfolder iconãçåçæå°çµæ">
            <a:extLst>
              <a:ext uri="{FF2B5EF4-FFF2-40B4-BE49-F238E27FC236}">
                <a16:creationId xmlns:a16="http://schemas.microsoft.com/office/drawing/2014/main" id="{BF869E7E-777E-4AF8-95DC-480D442CE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2910" y="3370034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ãfolder iconãçåçæå°çµæ">
            <a:extLst>
              <a:ext uri="{FF2B5EF4-FFF2-40B4-BE49-F238E27FC236}">
                <a16:creationId xmlns:a16="http://schemas.microsoft.com/office/drawing/2014/main" id="{4D745A8A-D4F0-4E8B-8C9F-767622B62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935" y="3352893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內容版面配置區 1">
            <a:extLst>
              <a:ext uri="{FF2B5EF4-FFF2-40B4-BE49-F238E27FC236}">
                <a16:creationId xmlns:a16="http://schemas.microsoft.com/office/drawing/2014/main" id="{3BF17A48-99C2-4388-842F-8FDD4CABA2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2777" y="4181892"/>
            <a:ext cx="1524000" cy="533398"/>
          </a:xfrm>
        </p:spPr>
        <p:txBody>
          <a:bodyPr/>
          <a:lstStyle/>
          <a:p>
            <a:pPr marL="0" indent="0">
              <a:buNone/>
            </a:pPr>
            <a:r>
              <a:rPr lang="en-US" altLang="zh-TW" dirty="0" err="1"/>
              <a:t>localA</a:t>
            </a:r>
            <a:endParaRPr lang="zh-TW" altLang="en-US" dirty="0"/>
          </a:p>
        </p:txBody>
      </p:sp>
      <p:sp>
        <p:nvSpPr>
          <p:cNvPr id="12" name="內容版面配置區 1">
            <a:extLst>
              <a:ext uri="{FF2B5EF4-FFF2-40B4-BE49-F238E27FC236}">
                <a16:creationId xmlns:a16="http://schemas.microsoft.com/office/drawing/2014/main" id="{4A9F7168-806E-40D7-9F40-0A3666DB9BA7}"/>
              </a:ext>
            </a:extLst>
          </p:cNvPr>
          <p:cNvSpPr txBox="1">
            <a:spLocks/>
          </p:cNvSpPr>
          <p:nvPr/>
        </p:nvSpPr>
        <p:spPr bwMode="auto">
          <a:xfrm>
            <a:off x="5511283" y="4164751"/>
            <a:ext cx="15240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kern="0" dirty="0" err="1"/>
              <a:t>localB</a:t>
            </a:r>
            <a:endParaRPr lang="zh-TW" altLang="en-US" kern="0" dirty="0"/>
          </a:p>
        </p:txBody>
      </p:sp>
      <p:pic>
        <p:nvPicPr>
          <p:cNvPr id="10246" name="Picture 6" descr="ãtext iconãçåçæå°çµæ">
            <a:extLst>
              <a:ext uri="{FF2B5EF4-FFF2-40B4-BE49-F238E27FC236}">
                <a16:creationId xmlns:a16="http://schemas.microsoft.com/office/drawing/2014/main" id="{374BB0B7-C628-41EA-A4C0-98C9E266F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034" y="3065234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ãarrow iconãçåçæå°çµæ">
            <a:extLst>
              <a:ext uri="{FF2B5EF4-FFF2-40B4-BE49-F238E27FC236}">
                <a16:creationId xmlns:a16="http://schemas.microsoft.com/office/drawing/2014/main" id="{084A4723-4274-4267-81CF-259D70ABD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3142144"/>
            <a:ext cx="725261" cy="485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ç¸éåç">
            <a:extLst>
              <a:ext uri="{FF2B5EF4-FFF2-40B4-BE49-F238E27FC236}">
                <a16:creationId xmlns:a16="http://schemas.microsoft.com/office/drawing/2014/main" id="{EBE7696A-93F7-4259-84F6-989E47DBA6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260" y="1229624"/>
            <a:ext cx="3238500" cy="1429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ç¸éåç">
            <a:extLst>
              <a:ext uri="{FF2B5EF4-FFF2-40B4-BE49-F238E27FC236}">
                <a16:creationId xmlns:a16="http://schemas.microsoft.com/office/drawing/2014/main" id="{27AA0C08-9FDF-44E5-8EAB-3E76AA9D0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667" b="93778" l="9778" r="89778">
                        <a14:foregroundMark x1="48000" y1="93778" x2="48000" y2="93778"/>
                        <a14:foregroundMark x1="48000" y1="29778" x2="48000" y2="29778"/>
                        <a14:foregroundMark x1="48444" y1="7556" x2="48444" y2="7556"/>
                        <a14:foregroundMark x1="52444" y1="2667" x2="52444" y2="2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119798">
            <a:off x="3708184" y="2358626"/>
            <a:ext cx="581301" cy="863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ç¸éåç">
            <a:extLst>
              <a:ext uri="{FF2B5EF4-FFF2-40B4-BE49-F238E27FC236}">
                <a16:creationId xmlns:a16="http://schemas.microsoft.com/office/drawing/2014/main" id="{0DAD61E8-D5DA-498C-9B61-B0E800630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667" b="93778" l="9778" r="89778">
                        <a14:foregroundMark x1="48000" y1="93778" x2="48000" y2="93778"/>
                        <a14:foregroundMark x1="48000" y1="29778" x2="48000" y2="29778"/>
                        <a14:foregroundMark x1="48444" y1="7556" x2="48444" y2="7556"/>
                        <a14:foregroundMark x1="52444" y1="2667" x2="52444" y2="2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00000">
            <a:off x="5129930" y="2393582"/>
            <a:ext cx="581301" cy="863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5E0DC503-68DA-4487-855E-8B0F64C01DB3}"/>
              </a:ext>
            </a:extLst>
          </p:cNvPr>
          <p:cNvSpPr/>
          <p:nvPr/>
        </p:nvSpPr>
        <p:spPr bwMode="auto">
          <a:xfrm>
            <a:off x="151570" y="4974727"/>
            <a:ext cx="6248400" cy="145324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remote add origin “https://xxx/remote.git“</a:t>
            </a: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pull origin master --allow-unrelated-histories</a:t>
            </a:r>
          </a:p>
          <a:p>
            <a:pPr eaLnBrk="0" hangingPunct="0"/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push origin</a:t>
            </a:r>
            <a:r>
              <a:rPr kumimoji="0" lang="en-US" altLang="zh-TW" sz="18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 master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26023659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ACF48F6-F4C9-4A0D-AAC6-2532024D1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先體會一下</a:t>
            </a:r>
            <a:r>
              <a:rPr lang="en-US" altLang="zh-TW" dirty="0"/>
              <a:t>GIT (3)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5</a:t>
            </a:fld>
            <a:endParaRPr lang="en-US" altLang="zh-TW" dirty="0"/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FA92B475-B26D-4B3C-AE89-E2C4AF7E96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871" y="1031703"/>
            <a:ext cx="9144000" cy="878828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8E3BB232-CE87-4F1D-ADBB-7658439EA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6912" y="1910531"/>
            <a:ext cx="5210175" cy="497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2490"/>
      </p:ext>
    </p:extLst>
  </p:cSld>
  <p:clrMapOvr>
    <a:masterClrMapping/>
  </p:clrMapOvr>
  <p:transition spd="slow">
    <p:zoom dir="in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20588486"/>
      </p:ext>
    </p:extLst>
  </p:cSld>
  <p:clrMapOvr>
    <a:masterClrMapping/>
  </p:clrMapOvr>
  <p:transition>
    <p:fade thruBlk="1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0A31925-DB74-4183-BD30-0C0A831AA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7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F4C968E5-A956-4037-AC9C-BF7D0FC73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646331"/>
          </a:xfrm>
        </p:spPr>
        <p:txBody>
          <a:bodyPr/>
          <a:lstStyle/>
          <a:p>
            <a:r>
              <a:rPr lang="zh-TW" altLang="en-US" dirty="0"/>
              <a:t>已經接觸了</a:t>
            </a:r>
            <a:r>
              <a:rPr lang="en-US" altLang="zh-TW" dirty="0"/>
              <a:t>..</a:t>
            </a:r>
            <a:endParaRPr lang="zh-TW" altLang="en-US" dirty="0"/>
          </a:p>
        </p:txBody>
      </p:sp>
      <p:pic>
        <p:nvPicPr>
          <p:cNvPr id="16386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C86E880F-7CC3-44DB-8D6A-9DBF4B0358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542" y="1869003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標題 2">
            <a:extLst>
              <a:ext uri="{FF2B5EF4-FFF2-40B4-BE49-F238E27FC236}">
                <a16:creationId xmlns:a16="http://schemas.microsoft.com/office/drawing/2014/main" id="{F94E9AAA-17DF-4D8E-9EA6-D6B71C6A3B3D}"/>
              </a:ext>
            </a:extLst>
          </p:cNvPr>
          <p:cNvSpPr txBox="1">
            <a:spLocks/>
          </p:cNvSpPr>
          <p:nvPr/>
        </p:nvSpPr>
        <p:spPr bwMode="auto">
          <a:xfrm>
            <a:off x="1465869" y="1930558"/>
            <a:ext cx="314967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 err="1">
                <a:solidFill>
                  <a:srgbClr val="0070C0"/>
                </a:solidFill>
              </a:rPr>
              <a:t>init</a:t>
            </a:r>
            <a:r>
              <a:rPr lang="en-US" altLang="zh-TW" sz="2800" kern="0" dirty="0"/>
              <a:t>        </a:t>
            </a:r>
            <a:r>
              <a:rPr lang="zh-TW" altLang="en-US" sz="2800" kern="0" dirty="0"/>
              <a:t>初始化</a:t>
            </a:r>
          </a:p>
        </p:txBody>
      </p:sp>
      <p:pic>
        <p:nvPicPr>
          <p:cNvPr id="8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4010E906-5022-4C8A-8C81-1C54ECB593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542" y="2811072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標題 2">
            <a:extLst>
              <a:ext uri="{FF2B5EF4-FFF2-40B4-BE49-F238E27FC236}">
                <a16:creationId xmlns:a16="http://schemas.microsoft.com/office/drawing/2014/main" id="{4969A66C-3175-4D56-B351-8EB05393DB9B}"/>
              </a:ext>
            </a:extLst>
          </p:cNvPr>
          <p:cNvSpPr txBox="1">
            <a:spLocks/>
          </p:cNvSpPr>
          <p:nvPr/>
        </p:nvSpPr>
        <p:spPr bwMode="auto">
          <a:xfrm>
            <a:off x="1465869" y="2872627"/>
            <a:ext cx="314967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status</a:t>
            </a:r>
            <a:r>
              <a:rPr lang="en-US" altLang="zh-TW" sz="2800" kern="0" dirty="0"/>
              <a:t>   </a:t>
            </a:r>
            <a:r>
              <a:rPr lang="zh-TW" altLang="en-US" sz="2800" kern="0" dirty="0"/>
              <a:t>檔案狀態</a:t>
            </a:r>
          </a:p>
        </p:txBody>
      </p:sp>
      <p:pic>
        <p:nvPicPr>
          <p:cNvPr id="10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A7E0241C-8A67-452D-92AF-0034A6E2C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69" y="3753141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標題 2">
            <a:extLst>
              <a:ext uri="{FF2B5EF4-FFF2-40B4-BE49-F238E27FC236}">
                <a16:creationId xmlns:a16="http://schemas.microsoft.com/office/drawing/2014/main" id="{E5FD8CD8-1E8B-4B3B-9F24-326E244C0FF3}"/>
              </a:ext>
            </a:extLst>
          </p:cNvPr>
          <p:cNvSpPr txBox="1">
            <a:spLocks/>
          </p:cNvSpPr>
          <p:nvPr/>
        </p:nvSpPr>
        <p:spPr bwMode="auto">
          <a:xfrm>
            <a:off x="1489196" y="3814696"/>
            <a:ext cx="314967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add</a:t>
            </a:r>
            <a:r>
              <a:rPr lang="en-US" altLang="zh-TW" sz="2800" kern="0" dirty="0"/>
              <a:t>        </a:t>
            </a:r>
            <a:r>
              <a:rPr lang="zh-TW" altLang="en-US" sz="2800" kern="0" dirty="0"/>
              <a:t>追蹤檔案</a:t>
            </a:r>
          </a:p>
        </p:txBody>
      </p:sp>
      <p:pic>
        <p:nvPicPr>
          <p:cNvPr id="12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7CDB92B3-E3AB-4620-AFF4-74C3F450DA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4691191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標題 2">
            <a:extLst>
              <a:ext uri="{FF2B5EF4-FFF2-40B4-BE49-F238E27FC236}">
                <a16:creationId xmlns:a16="http://schemas.microsoft.com/office/drawing/2014/main" id="{E574FCC9-BC6B-4F3B-A3B2-0BD90FF12352}"/>
              </a:ext>
            </a:extLst>
          </p:cNvPr>
          <p:cNvSpPr txBox="1">
            <a:spLocks/>
          </p:cNvSpPr>
          <p:nvPr/>
        </p:nvSpPr>
        <p:spPr bwMode="auto">
          <a:xfrm>
            <a:off x="1498527" y="4752746"/>
            <a:ext cx="636406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commit</a:t>
            </a:r>
            <a:r>
              <a:rPr lang="en-US" altLang="zh-TW" sz="2800" kern="0" dirty="0"/>
              <a:t>  </a:t>
            </a:r>
            <a:r>
              <a:rPr lang="zh-TW" altLang="en-US" sz="2800" kern="0" dirty="0"/>
              <a:t>提交</a:t>
            </a:r>
          </a:p>
        </p:txBody>
      </p:sp>
      <p:pic>
        <p:nvPicPr>
          <p:cNvPr id="14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9954BF5C-838E-4BAE-BB0B-1DD287C3D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506" y="3691585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標題 2">
            <a:extLst>
              <a:ext uri="{FF2B5EF4-FFF2-40B4-BE49-F238E27FC236}">
                <a16:creationId xmlns:a16="http://schemas.microsoft.com/office/drawing/2014/main" id="{D18EDFEC-49AC-434A-9C72-122DB3173A6A}"/>
              </a:ext>
            </a:extLst>
          </p:cNvPr>
          <p:cNvSpPr txBox="1">
            <a:spLocks/>
          </p:cNvSpPr>
          <p:nvPr/>
        </p:nvSpPr>
        <p:spPr bwMode="auto">
          <a:xfrm>
            <a:off x="5401833" y="3753140"/>
            <a:ext cx="636406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pull</a:t>
            </a:r>
            <a:r>
              <a:rPr lang="en-US" altLang="zh-TW" sz="2800" kern="0" dirty="0"/>
              <a:t>        </a:t>
            </a:r>
            <a:r>
              <a:rPr lang="zh-TW" altLang="en-US" sz="2800" kern="0" dirty="0"/>
              <a:t>提取遠端</a:t>
            </a:r>
          </a:p>
        </p:txBody>
      </p:sp>
      <p:pic>
        <p:nvPicPr>
          <p:cNvPr id="16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35BCF6A8-A0A0-4525-81A4-FAF1D4FD6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2731833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標題 2">
            <a:extLst>
              <a:ext uri="{FF2B5EF4-FFF2-40B4-BE49-F238E27FC236}">
                <a16:creationId xmlns:a16="http://schemas.microsoft.com/office/drawing/2014/main" id="{2CE38FE4-BCC0-40D4-AE29-7164900E984D}"/>
              </a:ext>
            </a:extLst>
          </p:cNvPr>
          <p:cNvSpPr txBox="1">
            <a:spLocks/>
          </p:cNvSpPr>
          <p:nvPr/>
        </p:nvSpPr>
        <p:spPr bwMode="auto">
          <a:xfrm>
            <a:off x="5384727" y="2793388"/>
            <a:ext cx="636406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push</a:t>
            </a:r>
            <a:r>
              <a:rPr lang="en-US" altLang="zh-TW" sz="2800" kern="0" dirty="0"/>
              <a:t>      </a:t>
            </a:r>
            <a:r>
              <a:rPr lang="zh-TW" altLang="en-US" sz="2800" kern="0" dirty="0"/>
              <a:t>推送遠端</a:t>
            </a:r>
          </a:p>
        </p:txBody>
      </p:sp>
      <p:pic>
        <p:nvPicPr>
          <p:cNvPr id="18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8F00D369-550C-4B69-9062-3426E0D06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1855338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標題 2">
            <a:extLst>
              <a:ext uri="{FF2B5EF4-FFF2-40B4-BE49-F238E27FC236}">
                <a16:creationId xmlns:a16="http://schemas.microsoft.com/office/drawing/2014/main" id="{4982B6B7-FD42-401E-9848-4D0E1266EDF5}"/>
              </a:ext>
            </a:extLst>
          </p:cNvPr>
          <p:cNvSpPr txBox="1">
            <a:spLocks/>
          </p:cNvSpPr>
          <p:nvPr/>
        </p:nvSpPr>
        <p:spPr bwMode="auto">
          <a:xfrm>
            <a:off x="5384727" y="1916893"/>
            <a:ext cx="636406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remote</a:t>
            </a:r>
            <a:r>
              <a:rPr lang="en-US" altLang="zh-TW" sz="2800" kern="0" dirty="0"/>
              <a:t> </a:t>
            </a:r>
            <a:r>
              <a:rPr lang="zh-TW" altLang="en-US" sz="2800" kern="0" dirty="0"/>
              <a:t>遠端版本庫</a:t>
            </a:r>
          </a:p>
        </p:txBody>
      </p:sp>
      <p:pic>
        <p:nvPicPr>
          <p:cNvPr id="20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1C5CA470-504C-416C-A4CF-2C5CF97C8F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502" y="4629635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標題 2">
            <a:extLst>
              <a:ext uri="{FF2B5EF4-FFF2-40B4-BE49-F238E27FC236}">
                <a16:creationId xmlns:a16="http://schemas.microsoft.com/office/drawing/2014/main" id="{71140F09-6DC4-41AA-9FC7-7419BFE3E84E}"/>
              </a:ext>
            </a:extLst>
          </p:cNvPr>
          <p:cNvSpPr txBox="1">
            <a:spLocks/>
          </p:cNvSpPr>
          <p:nvPr/>
        </p:nvSpPr>
        <p:spPr bwMode="auto">
          <a:xfrm>
            <a:off x="5415829" y="4691190"/>
            <a:ext cx="636406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clone</a:t>
            </a:r>
            <a:r>
              <a:rPr lang="en-US" altLang="zh-TW" sz="2800" kern="0" dirty="0"/>
              <a:t>     </a:t>
            </a:r>
            <a:r>
              <a:rPr lang="zh-TW" altLang="en-US" sz="2800" kern="0" dirty="0"/>
              <a:t>複製版本庫</a:t>
            </a:r>
          </a:p>
        </p:txBody>
      </p:sp>
    </p:spTree>
    <p:extLst>
      <p:ext uri="{BB962C8B-B14F-4D97-AF65-F5344CB8AC3E}">
        <p14:creationId xmlns:p14="http://schemas.microsoft.com/office/powerpoint/2010/main" val="2345042315"/>
      </p:ext>
    </p:extLst>
  </p:cSld>
  <p:clrMapOvr>
    <a:masterClrMapping/>
  </p:clrMapOvr>
  <p:transition spd="slow">
    <p:zoom dir="in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</a:t>
            </a:r>
            <a:r>
              <a:rPr lang="zh-TW" altLang="en-US" dirty="0"/>
              <a:t>架構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8</a:t>
            </a:fld>
            <a:endParaRPr lang="en-US" altLang="zh-TW" dirty="0"/>
          </a:p>
        </p:txBody>
      </p:sp>
      <p:sp>
        <p:nvSpPr>
          <p:cNvPr id="6" name="內容版面配置區 1">
            <a:extLst>
              <a:ext uri="{FF2B5EF4-FFF2-40B4-BE49-F238E27FC236}">
                <a16:creationId xmlns:a16="http://schemas.microsoft.com/office/drawing/2014/main" id="{F6455839-F173-4A8C-8BD1-982D7A617F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5034337"/>
            <a:ext cx="1524000" cy="533398"/>
          </a:xfrm>
        </p:spPr>
        <p:txBody>
          <a:bodyPr/>
          <a:lstStyle/>
          <a:p>
            <a:pPr marL="0" indent="0">
              <a:buNone/>
            </a:pPr>
            <a:r>
              <a:rPr lang="zh-TW" altLang="en-US" sz="2400" dirty="0"/>
              <a:t>工作區</a:t>
            </a:r>
          </a:p>
        </p:txBody>
      </p:sp>
      <p:pic>
        <p:nvPicPr>
          <p:cNvPr id="14340" name="Picture 4" descr="ç¸éåç">
            <a:extLst>
              <a:ext uri="{FF2B5EF4-FFF2-40B4-BE49-F238E27FC236}">
                <a16:creationId xmlns:a16="http://schemas.microsoft.com/office/drawing/2014/main" id="{43CD0042-B1F0-4BD1-8CA1-3FC8DA1524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276974"/>
            <a:ext cx="1757363" cy="175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ãtemporary iconãçåçæå°çµæ">
            <a:extLst>
              <a:ext uri="{FF2B5EF4-FFF2-40B4-BE49-F238E27FC236}">
                <a16:creationId xmlns:a16="http://schemas.microsoft.com/office/drawing/2014/main" id="{75EEA9E2-0E60-4726-A3F2-2556205CF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3393655"/>
            <a:ext cx="15240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內容版面配置區 1">
            <a:extLst>
              <a:ext uri="{FF2B5EF4-FFF2-40B4-BE49-F238E27FC236}">
                <a16:creationId xmlns:a16="http://schemas.microsoft.com/office/drawing/2014/main" id="{44827239-600A-41F1-BEB2-41E44BC0DBF7}"/>
              </a:ext>
            </a:extLst>
          </p:cNvPr>
          <p:cNvSpPr txBox="1">
            <a:spLocks/>
          </p:cNvSpPr>
          <p:nvPr/>
        </p:nvSpPr>
        <p:spPr bwMode="auto">
          <a:xfrm>
            <a:off x="4059913" y="5031684"/>
            <a:ext cx="15240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zh-TW" altLang="en-US" sz="2400" kern="0" dirty="0"/>
              <a:t>暫存區</a:t>
            </a:r>
          </a:p>
        </p:txBody>
      </p:sp>
      <p:pic>
        <p:nvPicPr>
          <p:cNvPr id="14344" name="Picture 8" descr="ãrepository iconãçåçæå°çµæ">
            <a:extLst>
              <a:ext uri="{FF2B5EF4-FFF2-40B4-BE49-F238E27FC236}">
                <a16:creationId xmlns:a16="http://schemas.microsoft.com/office/drawing/2014/main" id="{B93D16B3-1D9D-4894-B7E1-DA2A3E468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3510337"/>
            <a:ext cx="15240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內容版面配置區 1">
            <a:extLst>
              <a:ext uri="{FF2B5EF4-FFF2-40B4-BE49-F238E27FC236}">
                <a16:creationId xmlns:a16="http://schemas.microsoft.com/office/drawing/2014/main" id="{6C314E49-ADF7-4F08-9999-D8B08A69B1EF}"/>
              </a:ext>
            </a:extLst>
          </p:cNvPr>
          <p:cNvSpPr txBox="1">
            <a:spLocks/>
          </p:cNvSpPr>
          <p:nvPr/>
        </p:nvSpPr>
        <p:spPr bwMode="auto">
          <a:xfrm>
            <a:off x="6781800" y="5105774"/>
            <a:ext cx="2471737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zh-TW" altLang="en-US" sz="2400" kern="0" dirty="0"/>
              <a:t>本地版本庫</a:t>
            </a:r>
          </a:p>
        </p:txBody>
      </p:sp>
      <p:sp>
        <p:nvSpPr>
          <p:cNvPr id="12" name="內容版面配置區 1">
            <a:extLst>
              <a:ext uri="{FF2B5EF4-FFF2-40B4-BE49-F238E27FC236}">
                <a16:creationId xmlns:a16="http://schemas.microsoft.com/office/drawing/2014/main" id="{0127DE69-3E4D-4835-BFFE-01BF85FF6DD0}"/>
              </a:ext>
            </a:extLst>
          </p:cNvPr>
          <p:cNvSpPr txBox="1">
            <a:spLocks/>
          </p:cNvSpPr>
          <p:nvPr/>
        </p:nvSpPr>
        <p:spPr bwMode="auto">
          <a:xfrm>
            <a:off x="3647493" y="5565159"/>
            <a:ext cx="26670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400" kern="0" dirty="0"/>
              <a:t>Stage \ Index</a:t>
            </a:r>
            <a:endParaRPr lang="zh-TW" altLang="en-US" sz="2400" kern="0" dirty="0"/>
          </a:p>
        </p:txBody>
      </p:sp>
      <p:sp>
        <p:nvSpPr>
          <p:cNvPr id="13" name="內容版面配置區 1">
            <a:extLst>
              <a:ext uri="{FF2B5EF4-FFF2-40B4-BE49-F238E27FC236}">
                <a16:creationId xmlns:a16="http://schemas.microsoft.com/office/drawing/2014/main" id="{9FA25E5A-52DC-409C-BBF8-C26F5CF3E3F9}"/>
              </a:ext>
            </a:extLst>
          </p:cNvPr>
          <p:cNvSpPr txBox="1">
            <a:spLocks/>
          </p:cNvSpPr>
          <p:nvPr/>
        </p:nvSpPr>
        <p:spPr bwMode="auto">
          <a:xfrm>
            <a:off x="6455568" y="5710412"/>
            <a:ext cx="2688432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400" kern="0" dirty="0"/>
              <a:t>Local Repository</a:t>
            </a:r>
            <a:endParaRPr lang="zh-TW" altLang="en-US" sz="2400" kern="0" dirty="0"/>
          </a:p>
        </p:txBody>
      </p:sp>
      <p:sp>
        <p:nvSpPr>
          <p:cNvPr id="5" name="箭號: 向右 4">
            <a:extLst>
              <a:ext uri="{FF2B5EF4-FFF2-40B4-BE49-F238E27FC236}">
                <a16:creationId xmlns:a16="http://schemas.microsoft.com/office/drawing/2014/main" id="{2BC9410C-1911-4114-B457-D68E33A7D530}"/>
              </a:ext>
            </a:extLst>
          </p:cNvPr>
          <p:cNvSpPr/>
          <p:nvPr/>
        </p:nvSpPr>
        <p:spPr bwMode="auto">
          <a:xfrm>
            <a:off x="2516934" y="4041944"/>
            <a:ext cx="1066800" cy="381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5" name="內容版面配置區 1">
            <a:extLst>
              <a:ext uri="{FF2B5EF4-FFF2-40B4-BE49-F238E27FC236}">
                <a16:creationId xmlns:a16="http://schemas.microsoft.com/office/drawing/2014/main" id="{FC122AF2-88A6-4989-A33F-1A77472093B5}"/>
              </a:ext>
            </a:extLst>
          </p:cNvPr>
          <p:cNvSpPr txBox="1">
            <a:spLocks/>
          </p:cNvSpPr>
          <p:nvPr/>
        </p:nvSpPr>
        <p:spPr bwMode="auto">
          <a:xfrm>
            <a:off x="2700534" y="3699046"/>
            <a:ext cx="665584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000" kern="0" dirty="0"/>
              <a:t>add</a:t>
            </a:r>
            <a:endParaRPr lang="zh-TW" altLang="en-US" sz="2000" kern="0" dirty="0"/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E33A75A6-7647-455F-BF37-FCE6A775D04A}"/>
              </a:ext>
            </a:extLst>
          </p:cNvPr>
          <p:cNvSpPr/>
          <p:nvPr/>
        </p:nvSpPr>
        <p:spPr bwMode="auto">
          <a:xfrm>
            <a:off x="5562600" y="4137469"/>
            <a:ext cx="1066800" cy="381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7" name="內容版面配置區 1">
            <a:extLst>
              <a:ext uri="{FF2B5EF4-FFF2-40B4-BE49-F238E27FC236}">
                <a16:creationId xmlns:a16="http://schemas.microsoft.com/office/drawing/2014/main" id="{27F23C77-AF45-4A2C-B7DF-4220EC56E7A7}"/>
              </a:ext>
            </a:extLst>
          </p:cNvPr>
          <p:cNvSpPr txBox="1">
            <a:spLocks/>
          </p:cNvSpPr>
          <p:nvPr/>
        </p:nvSpPr>
        <p:spPr bwMode="auto">
          <a:xfrm>
            <a:off x="5562600" y="3714597"/>
            <a:ext cx="10668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000" kern="0" dirty="0"/>
              <a:t>commit</a:t>
            </a:r>
            <a:endParaRPr lang="zh-TW" altLang="en-US" sz="2000" kern="0" dirty="0"/>
          </a:p>
        </p:txBody>
      </p:sp>
      <p:pic>
        <p:nvPicPr>
          <p:cNvPr id="14346" name="Picture 10" descr="ãremote Repositoryãçåçæå°çµæ">
            <a:extLst>
              <a:ext uri="{FF2B5EF4-FFF2-40B4-BE49-F238E27FC236}">
                <a16:creationId xmlns:a16="http://schemas.microsoft.com/office/drawing/2014/main" id="{8A61B920-CEA0-429D-A67E-69AEBC69CB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67" b="70132"/>
          <a:stretch/>
        </p:blipFill>
        <p:spPr bwMode="auto">
          <a:xfrm>
            <a:off x="6142972" y="436823"/>
            <a:ext cx="2801656" cy="1444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箭號: 向右 18">
            <a:extLst>
              <a:ext uri="{FF2B5EF4-FFF2-40B4-BE49-F238E27FC236}">
                <a16:creationId xmlns:a16="http://schemas.microsoft.com/office/drawing/2014/main" id="{9A600651-F935-40E3-A454-63E61CC16F08}"/>
              </a:ext>
            </a:extLst>
          </p:cNvPr>
          <p:cNvSpPr/>
          <p:nvPr/>
        </p:nvSpPr>
        <p:spPr bwMode="auto">
          <a:xfrm rot="16200000">
            <a:off x="6846168" y="2607523"/>
            <a:ext cx="1066800" cy="381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0" name="內容版面配置區 1">
            <a:extLst>
              <a:ext uri="{FF2B5EF4-FFF2-40B4-BE49-F238E27FC236}">
                <a16:creationId xmlns:a16="http://schemas.microsoft.com/office/drawing/2014/main" id="{B47617FE-F8E6-4324-9FF3-E369E433F726}"/>
              </a:ext>
            </a:extLst>
          </p:cNvPr>
          <p:cNvSpPr txBox="1">
            <a:spLocks/>
          </p:cNvSpPr>
          <p:nvPr/>
        </p:nvSpPr>
        <p:spPr bwMode="auto">
          <a:xfrm>
            <a:off x="6455568" y="2617859"/>
            <a:ext cx="10668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000" kern="0" dirty="0"/>
              <a:t>push</a:t>
            </a:r>
            <a:endParaRPr lang="zh-TW" altLang="en-US" sz="2000" kern="0" dirty="0"/>
          </a:p>
        </p:txBody>
      </p:sp>
      <p:sp>
        <p:nvSpPr>
          <p:cNvPr id="21" name="內容版面配置區 1">
            <a:extLst>
              <a:ext uri="{FF2B5EF4-FFF2-40B4-BE49-F238E27FC236}">
                <a16:creationId xmlns:a16="http://schemas.microsoft.com/office/drawing/2014/main" id="{3266962F-9E05-41D0-8922-C776A2981DEF}"/>
              </a:ext>
            </a:extLst>
          </p:cNvPr>
          <p:cNvSpPr txBox="1">
            <a:spLocks/>
          </p:cNvSpPr>
          <p:nvPr/>
        </p:nvSpPr>
        <p:spPr bwMode="auto">
          <a:xfrm>
            <a:off x="6243042" y="1835736"/>
            <a:ext cx="2982516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400" kern="0" dirty="0"/>
              <a:t>Remote Repository</a:t>
            </a:r>
            <a:endParaRPr lang="zh-TW" altLang="en-US" sz="2400" kern="0" dirty="0"/>
          </a:p>
        </p:txBody>
      </p:sp>
      <p:sp>
        <p:nvSpPr>
          <p:cNvPr id="22" name="箭號: 向右 21">
            <a:extLst>
              <a:ext uri="{FF2B5EF4-FFF2-40B4-BE49-F238E27FC236}">
                <a16:creationId xmlns:a16="http://schemas.microsoft.com/office/drawing/2014/main" id="{676D83C1-FE44-4F31-96B0-4B2F0B48455F}"/>
              </a:ext>
            </a:extLst>
          </p:cNvPr>
          <p:cNvSpPr/>
          <p:nvPr/>
        </p:nvSpPr>
        <p:spPr bwMode="auto">
          <a:xfrm rot="9522820">
            <a:off x="2297164" y="2377657"/>
            <a:ext cx="3945833" cy="381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3" name="內容版面配置區 1">
            <a:extLst>
              <a:ext uri="{FF2B5EF4-FFF2-40B4-BE49-F238E27FC236}">
                <a16:creationId xmlns:a16="http://schemas.microsoft.com/office/drawing/2014/main" id="{69F49972-E7A1-45F4-89AA-01D35FB55224}"/>
              </a:ext>
            </a:extLst>
          </p:cNvPr>
          <p:cNvSpPr txBox="1">
            <a:spLocks/>
          </p:cNvSpPr>
          <p:nvPr/>
        </p:nvSpPr>
        <p:spPr bwMode="auto">
          <a:xfrm>
            <a:off x="3755113" y="2049133"/>
            <a:ext cx="10668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000" kern="0" dirty="0"/>
              <a:t>pull</a:t>
            </a:r>
            <a:endParaRPr lang="zh-TW" altLang="en-US" sz="2000" kern="0" dirty="0"/>
          </a:p>
        </p:txBody>
      </p:sp>
      <p:sp>
        <p:nvSpPr>
          <p:cNvPr id="26" name="箭號: 向右 25">
            <a:extLst>
              <a:ext uri="{FF2B5EF4-FFF2-40B4-BE49-F238E27FC236}">
                <a16:creationId xmlns:a16="http://schemas.microsoft.com/office/drawing/2014/main" id="{0EDF58EA-19F5-463E-B826-E16EA3DC3499}"/>
              </a:ext>
            </a:extLst>
          </p:cNvPr>
          <p:cNvSpPr/>
          <p:nvPr/>
        </p:nvSpPr>
        <p:spPr bwMode="auto">
          <a:xfrm rot="5400000">
            <a:off x="7383158" y="2658732"/>
            <a:ext cx="1066800" cy="381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7" name="內容版面配置區 1">
            <a:extLst>
              <a:ext uri="{FF2B5EF4-FFF2-40B4-BE49-F238E27FC236}">
                <a16:creationId xmlns:a16="http://schemas.microsoft.com/office/drawing/2014/main" id="{C0914711-4079-41DA-B1EC-1264236AAF47}"/>
              </a:ext>
            </a:extLst>
          </p:cNvPr>
          <p:cNvSpPr txBox="1">
            <a:spLocks/>
          </p:cNvSpPr>
          <p:nvPr/>
        </p:nvSpPr>
        <p:spPr bwMode="auto">
          <a:xfrm>
            <a:off x="8094909" y="2638902"/>
            <a:ext cx="1066800" cy="53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altLang="zh-TW" sz="2000" kern="0" dirty="0"/>
              <a:t>clone</a:t>
            </a:r>
            <a:endParaRPr lang="zh-TW" alt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646321106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2" grpId="0"/>
      <p:bldP spid="13" grpId="0"/>
      <p:bldP spid="5" grpId="0" animBg="1"/>
      <p:bldP spid="15" grpId="0"/>
      <p:bldP spid="16" grpId="0" animBg="1"/>
      <p:bldP spid="17" grpId="0"/>
      <p:bldP spid="19" grpId="0" animBg="1"/>
      <p:bldP spid="20" grpId="0"/>
      <p:bldP spid="21" grpId="0"/>
      <p:bldP spid="22" grpId="0" animBg="1"/>
      <p:bldP spid="23" grpId="0"/>
      <p:bldP spid="26" grpId="0" animBg="1"/>
      <p:bldP spid="2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6086339B-7D60-402A-AE47-61E1566DA1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600" y="791337"/>
            <a:ext cx="8178799" cy="5275325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857A3E88-5A74-493F-9915-A0D04C5565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6356350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FFFFFF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19</a:t>
            </a:fld>
            <a:endParaRPr lang="en-US" altLang="zh-TW">
              <a:solidFill>
                <a:srgbClr val="FFFFFF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4078364"/>
      </p:ext>
    </p:extLst>
  </p:cSld>
  <p:clrMapOvr>
    <a:masterClrMapping/>
  </p:clrMapOvr>
  <p:transition spd="slow">
    <p:zoom dir="in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84775"/>
          </a:xfrm>
        </p:spPr>
        <p:txBody>
          <a:bodyPr/>
          <a:lstStyle/>
          <a:p>
            <a:pPr eaLnBrk="1" hangingPunct="1"/>
            <a:r>
              <a:rPr lang="en-US" altLang="zh-TW" sz="3200" dirty="0"/>
              <a:t>Agenda 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1969" y="1295400"/>
            <a:ext cx="8120062" cy="4854575"/>
          </a:xfrm>
        </p:spPr>
        <p:txBody>
          <a:bodyPr/>
          <a:lstStyle/>
          <a:p>
            <a:pPr eaLnBrk="1" hangingPunct="1"/>
            <a:r>
              <a:rPr lang="zh-TW" altLang="en-US" sz="28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  <a:endParaRPr lang="en-US" altLang="zh-TW" sz="2800" dirty="0">
              <a:solidFill>
                <a:srgbClr val="954333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30992345"/>
      </p:ext>
    </p:extLst>
  </p:cSld>
  <p:clrMapOvr>
    <a:masterClrMapping/>
  </p:clrMapOvr>
  <p:transition>
    <p:fade thruBlk="1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F9B25F2-0EBA-4E55-A9B3-55BE9EB0354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0</a:t>
            </a:fld>
            <a:endParaRPr lang="en-US" altLang="zh-TW" dirty="0"/>
          </a:p>
        </p:txBody>
      </p:sp>
      <p:pic>
        <p:nvPicPr>
          <p:cNvPr id="29698" name="Picture 2" descr="ç¸éåç">
            <a:extLst>
              <a:ext uri="{FF2B5EF4-FFF2-40B4-BE49-F238E27FC236}">
                <a16:creationId xmlns:a16="http://schemas.microsoft.com/office/drawing/2014/main" id="{AC1ABB2D-1EC6-41AA-8E87-AE3A6AC6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247775"/>
            <a:ext cx="5715000" cy="436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3029578"/>
      </p:ext>
    </p:extLst>
  </p:cSld>
  <p:clrMapOvr>
    <a:masterClrMapping/>
  </p:clrMapOvr>
  <p:transition spd="slow">
    <p:zoom dir="in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語音泡泡: 矩形 11">
            <a:extLst>
              <a:ext uri="{FF2B5EF4-FFF2-40B4-BE49-F238E27FC236}">
                <a16:creationId xmlns:a16="http://schemas.microsoft.com/office/drawing/2014/main" id="{09510BAA-BE86-40E5-AE0B-07E67412693B}"/>
              </a:ext>
            </a:extLst>
          </p:cNvPr>
          <p:cNvSpPr/>
          <p:nvPr/>
        </p:nvSpPr>
        <p:spPr bwMode="auto">
          <a:xfrm>
            <a:off x="887962" y="4356291"/>
            <a:ext cx="7848600" cy="793814"/>
          </a:xfrm>
          <a:prstGeom prst="wedgeRectCallout">
            <a:avLst>
              <a:gd name="adj1" fmla="val 52884"/>
              <a:gd name="adj2" fmla="val 10238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1" name="語音泡泡: 矩形 10">
            <a:extLst>
              <a:ext uri="{FF2B5EF4-FFF2-40B4-BE49-F238E27FC236}">
                <a16:creationId xmlns:a16="http://schemas.microsoft.com/office/drawing/2014/main" id="{1560A878-5D46-4E03-A491-334EFE896247}"/>
              </a:ext>
            </a:extLst>
          </p:cNvPr>
          <p:cNvSpPr/>
          <p:nvPr/>
        </p:nvSpPr>
        <p:spPr bwMode="auto">
          <a:xfrm>
            <a:off x="1999861" y="2868102"/>
            <a:ext cx="4495800" cy="793814"/>
          </a:xfrm>
          <a:prstGeom prst="wedgeRectCallout">
            <a:avLst>
              <a:gd name="adj1" fmla="val 85220"/>
              <a:gd name="adj2" fmla="val 4596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" name="語音泡泡: 矩形 2">
            <a:extLst>
              <a:ext uri="{FF2B5EF4-FFF2-40B4-BE49-F238E27FC236}">
                <a16:creationId xmlns:a16="http://schemas.microsoft.com/office/drawing/2014/main" id="{894AFFBC-3EFB-4035-B7A5-E8A31E4818C6}"/>
              </a:ext>
            </a:extLst>
          </p:cNvPr>
          <p:cNvSpPr/>
          <p:nvPr/>
        </p:nvSpPr>
        <p:spPr bwMode="auto">
          <a:xfrm>
            <a:off x="1981200" y="1438009"/>
            <a:ext cx="4495800" cy="793814"/>
          </a:xfrm>
          <a:prstGeom prst="wedgeRectCallout">
            <a:avLst>
              <a:gd name="adj1" fmla="val 85220"/>
              <a:gd name="adj2" fmla="val 4596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1</a:t>
            </a:fld>
            <a:endParaRPr lang="en-US" altLang="zh-TW" dirty="0"/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31B24724-39DB-43DC-9ADD-965F184F6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</a:t>
            </a:r>
            <a:r>
              <a:rPr lang="zh-TW" altLang="en-US" dirty="0"/>
              <a:t>是什麼？</a:t>
            </a:r>
          </a:p>
        </p:txBody>
      </p:sp>
      <p:sp>
        <p:nvSpPr>
          <p:cNvPr id="8" name="標題 2">
            <a:extLst>
              <a:ext uri="{FF2B5EF4-FFF2-40B4-BE49-F238E27FC236}">
                <a16:creationId xmlns:a16="http://schemas.microsoft.com/office/drawing/2014/main" id="{E439B0B0-3041-421E-B4C7-0B37E1C798A6}"/>
              </a:ext>
            </a:extLst>
          </p:cNvPr>
          <p:cNvSpPr txBox="1">
            <a:spLocks/>
          </p:cNvSpPr>
          <p:nvPr/>
        </p:nvSpPr>
        <p:spPr bwMode="auto">
          <a:xfrm>
            <a:off x="2362200" y="2922991"/>
            <a:ext cx="79683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kern="0" dirty="0"/>
              <a:t>GIT</a:t>
            </a:r>
            <a:r>
              <a:rPr lang="zh-TW" altLang="en-US" kern="0" dirty="0"/>
              <a:t>就是</a:t>
            </a:r>
            <a:r>
              <a:rPr lang="en-US" altLang="zh-TW" kern="0" dirty="0"/>
              <a:t>FTP</a:t>
            </a:r>
            <a:endParaRPr lang="zh-TW" altLang="en-US" kern="0" dirty="0"/>
          </a:p>
        </p:txBody>
      </p:sp>
      <p:sp>
        <p:nvSpPr>
          <p:cNvPr id="9" name="標題 2">
            <a:extLst>
              <a:ext uri="{FF2B5EF4-FFF2-40B4-BE49-F238E27FC236}">
                <a16:creationId xmlns:a16="http://schemas.microsoft.com/office/drawing/2014/main" id="{41872924-2B6B-4B7F-BA72-BC0331B226E2}"/>
              </a:ext>
            </a:extLst>
          </p:cNvPr>
          <p:cNvSpPr txBox="1">
            <a:spLocks/>
          </p:cNvSpPr>
          <p:nvPr/>
        </p:nvSpPr>
        <p:spPr bwMode="auto">
          <a:xfrm>
            <a:off x="887962" y="4476064"/>
            <a:ext cx="79683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kern="0" dirty="0"/>
              <a:t>GIT</a:t>
            </a:r>
            <a:r>
              <a:rPr lang="zh-TW" altLang="en-US" kern="0" dirty="0"/>
              <a:t>是「</a:t>
            </a:r>
            <a:r>
              <a:rPr lang="zh-TW" altLang="en-US" dirty="0"/>
              <a:t>分散式」的「版本控制」工具</a:t>
            </a:r>
            <a:endParaRPr lang="zh-TW" altLang="en-US" kern="0" dirty="0"/>
          </a:p>
        </p:txBody>
      </p:sp>
      <p:sp>
        <p:nvSpPr>
          <p:cNvPr id="10" name="標題 2">
            <a:extLst>
              <a:ext uri="{FF2B5EF4-FFF2-40B4-BE49-F238E27FC236}">
                <a16:creationId xmlns:a16="http://schemas.microsoft.com/office/drawing/2014/main" id="{B7F9813C-1893-4ED2-9A5C-7DA8982CC1D5}"/>
              </a:ext>
            </a:extLst>
          </p:cNvPr>
          <p:cNvSpPr txBox="1">
            <a:spLocks/>
          </p:cNvSpPr>
          <p:nvPr/>
        </p:nvSpPr>
        <p:spPr bwMode="auto">
          <a:xfrm>
            <a:off x="2390192" y="1594840"/>
            <a:ext cx="796834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3200" kern="0" dirty="0"/>
              <a:t>GIT</a:t>
            </a:r>
            <a:r>
              <a:rPr lang="zh-TW" altLang="en-US" sz="3200" kern="0" dirty="0"/>
              <a:t>是個網站</a:t>
            </a:r>
          </a:p>
        </p:txBody>
      </p:sp>
      <p:pic>
        <p:nvPicPr>
          <p:cNvPr id="30722" name="Picture 2" descr="ãbig questionãçåçæå°çµæ">
            <a:extLst>
              <a:ext uri="{FF2B5EF4-FFF2-40B4-BE49-F238E27FC236}">
                <a16:creationId xmlns:a16="http://schemas.microsoft.com/office/drawing/2014/main" id="{97DC25F4-C89B-4C4E-B00B-0BFBB12AB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529" y="1281117"/>
            <a:ext cx="3492941" cy="4761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525150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1" grpId="0" animBg="1"/>
      <p:bldP spid="3" grpId="0" animBg="1"/>
      <p:bldP spid="8" grpId="0"/>
      <p:bldP spid="9" grpId="0"/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2</a:t>
            </a:fld>
            <a:endParaRPr lang="en-US" altLang="zh-TW" dirty="0"/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31B24724-39DB-43DC-9ADD-965F184F6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1742" y="381000"/>
            <a:ext cx="7848600" cy="646331"/>
          </a:xfrm>
        </p:spPr>
        <p:txBody>
          <a:bodyPr/>
          <a:lstStyle/>
          <a:p>
            <a:r>
              <a:rPr lang="en-US" altLang="zh-TW" dirty="0"/>
              <a:t>GIT</a:t>
            </a:r>
            <a:r>
              <a:rPr lang="zh-TW" altLang="en-US" dirty="0"/>
              <a:t>是什麼？</a:t>
            </a:r>
          </a:p>
        </p:txBody>
      </p:sp>
      <p:sp>
        <p:nvSpPr>
          <p:cNvPr id="10" name="標題 2">
            <a:extLst>
              <a:ext uri="{FF2B5EF4-FFF2-40B4-BE49-F238E27FC236}">
                <a16:creationId xmlns:a16="http://schemas.microsoft.com/office/drawing/2014/main" id="{B7F9813C-1893-4ED2-9A5C-7DA8982CC1D5}"/>
              </a:ext>
            </a:extLst>
          </p:cNvPr>
          <p:cNvSpPr txBox="1">
            <a:spLocks/>
          </p:cNvSpPr>
          <p:nvPr/>
        </p:nvSpPr>
        <p:spPr bwMode="auto">
          <a:xfrm>
            <a:off x="968828" y="1828800"/>
            <a:ext cx="7968344" cy="3416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pPr marL="742950" indent="-742950">
              <a:buAutoNum type="arabicPeriod"/>
            </a:pPr>
            <a:r>
              <a:rPr lang="zh-TW" altLang="en-US" kern="0" dirty="0"/>
              <a:t>程式碼時光機</a:t>
            </a:r>
            <a:endParaRPr lang="en-US" altLang="zh-TW" kern="0" dirty="0"/>
          </a:p>
          <a:p>
            <a:pPr marL="742950" indent="-742950">
              <a:buAutoNum type="arabicPeriod"/>
            </a:pPr>
            <a:endParaRPr lang="en-US" altLang="zh-TW" kern="0" dirty="0"/>
          </a:p>
          <a:p>
            <a:pPr marL="742950" indent="-742950">
              <a:buAutoNum type="arabicPeriod"/>
            </a:pPr>
            <a:r>
              <a:rPr lang="zh-TW" altLang="en-US" kern="0" dirty="0"/>
              <a:t>輔助「協同開發」的工具</a:t>
            </a:r>
            <a:endParaRPr lang="en-US" altLang="zh-TW" kern="0" dirty="0"/>
          </a:p>
          <a:p>
            <a:pPr marL="742950" indent="-742950">
              <a:buAutoNum type="arabicPeriod"/>
            </a:pPr>
            <a:endParaRPr lang="en-US" altLang="zh-TW" kern="0" dirty="0"/>
          </a:p>
          <a:p>
            <a:pPr marL="742950" indent="-742950">
              <a:buAutoNum type="arabicPeriod"/>
            </a:pPr>
            <a:r>
              <a:rPr lang="zh-TW" altLang="en-US" kern="0" dirty="0"/>
              <a:t>離線也可用</a:t>
            </a:r>
            <a:endParaRPr lang="en-US" altLang="zh-TW" kern="0" dirty="0"/>
          </a:p>
          <a:p>
            <a:pPr marL="742950" indent="-742950">
              <a:buAutoNum type="arabicPeriod"/>
            </a:pPr>
            <a:endParaRPr lang="zh-TW" altLang="en-US" kern="0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3B79AA2-A8E0-4E10-8E15-1208DEFE802B}"/>
              </a:ext>
            </a:extLst>
          </p:cNvPr>
          <p:cNvSpPr/>
          <p:nvPr/>
        </p:nvSpPr>
        <p:spPr>
          <a:xfrm>
            <a:off x="2089589" y="5245120"/>
            <a:ext cx="496482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40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 </a:t>
            </a:r>
            <a:r>
              <a:rPr lang="zh-TW" altLang="en-US" sz="40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檔案</a:t>
            </a:r>
            <a:r>
              <a:rPr lang="zh-TW" altLang="en-US" sz="400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內容追蹤軟體</a:t>
            </a:r>
          </a:p>
        </p:txBody>
      </p:sp>
    </p:spTree>
    <p:extLst>
      <p:ext uri="{BB962C8B-B14F-4D97-AF65-F5344CB8AC3E}">
        <p14:creationId xmlns:p14="http://schemas.microsoft.com/office/powerpoint/2010/main" val="3625814236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CCE1B479-0EA8-4048-B8D9-ADB9F0C389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43000"/>
            <a:ext cx="8534400" cy="4782150"/>
          </a:xfrm>
        </p:spPr>
        <p:txBody>
          <a:bodyPr/>
          <a:lstStyle/>
          <a:p>
            <a:r>
              <a:rPr lang="zh-TW" altLang="en-US" sz="2400" dirty="0"/>
              <a:t>集中式：檔案的差異</a:t>
            </a:r>
            <a:endParaRPr lang="en-US" altLang="zh-TW" sz="2400" dirty="0"/>
          </a:p>
          <a:p>
            <a:r>
              <a:rPr lang="zh-TW" altLang="en-US" sz="2400" dirty="0"/>
              <a:t>分散式：檔案的快照 </a:t>
            </a:r>
            <a:r>
              <a:rPr lang="en-US" altLang="zh-TW" sz="2400" dirty="0"/>
              <a:t>(Snap Shot)</a:t>
            </a:r>
            <a:endParaRPr lang="zh-TW" altLang="en-US" sz="2400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A4AACA75-4807-4D10-A2E1-FCA85D10B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分散式與集中式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27409C9-9AC5-4795-8D10-FD2B39DBAF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3</a:t>
            </a:fld>
            <a:endParaRPr lang="en-US" altLang="zh-TW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584F93C6-612B-47DE-BA7D-F14ACB7FB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9306" y="2101786"/>
            <a:ext cx="5386387" cy="475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46283"/>
      </p:ext>
    </p:extLst>
  </p:cSld>
  <p:clrMapOvr>
    <a:masterClrMapping/>
  </p:clrMapOvr>
  <p:transition spd="slow">
    <p:zoom dir="in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E3B4D4D-FB15-4734-B1EA-32A5E53990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4</a:t>
            </a:fld>
            <a:endParaRPr lang="en-US" altLang="zh-TW" dirty="0"/>
          </a:p>
        </p:txBody>
      </p:sp>
      <p:pic>
        <p:nvPicPr>
          <p:cNvPr id="31746" name="Picture 2" descr="ãååéç¼ãçåçæå°çµæ">
            <a:extLst>
              <a:ext uri="{FF2B5EF4-FFF2-40B4-BE49-F238E27FC236}">
                <a16:creationId xmlns:a16="http://schemas.microsoft.com/office/drawing/2014/main" id="{F2327E4C-D30C-4E76-A989-EE103D2A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752600"/>
            <a:ext cx="5715000" cy="3895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標題 1">
            <a:extLst>
              <a:ext uri="{FF2B5EF4-FFF2-40B4-BE49-F238E27FC236}">
                <a16:creationId xmlns:a16="http://schemas.microsoft.com/office/drawing/2014/main" id="{760282F5-09D2-452D-A61C-EF51F33E0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1742" y="381000"/>
            <a:ext cx="7848600" cy="646331"/>
          </a:xfrm>
        </p:spPr>
        <p:txBody>
          <a:bodyPr/>
          <a:lstStyle/>
          <a:p>
            <a:r>
              <a:rPr lang="zh-TW" altLang="en-US" dirty="0"/>
              <a:t>關於「協同開發」</a:t>
            </a:r>
          </a:p>
        </p:txBody>
      </p:sp>
    </p:spTree>
    <p:extLst>
      <p:ext uri="{BB962C8B-B14F-4D97-AF65-F5344CB8AC3E}">
        <p14:creationId xmlns:p14="http://schemas.microsoft.com/office/powerpoint/2010/main" val="2146076673"/>
      </p:ext>
    </p:extLst>
  </p:cSld>
  <p:clrMapOvr>
    <a:masterClrMapping/>
  </p:clrMapOvr>
  <p:transition spd="slow">
    <p:zoom dir="in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>
            <a:extLst>
              <a:ext uri="{FF2B5EF4-FFF2-40B4-BE49-F238E27FC236}">
                <a16:creationId xmlns:a16="http://schemas.microsoft.com/office/drawing/2014/main" id="{FAA82141-D872-4630-9185-03143B8A3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97048"/>
            <a:ext cx="9144000" cy="6813352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5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392496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CCE5527C-4ADC-400F-A5B3-E8CCA488D9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76" y="173789"/>
            <a:ext cx="9144000" cy="6684211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6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272240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44D60D51-66E3-4402-A650-05247F290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3" y="158193"/>
            <a:ext cx="9144000" cy="6541614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7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53515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>
            <a:extLst>
              <a:ext uri="{FF2B5EF4-FFF2-40B4-BE49-F238E27FC236}">
                <a16:creationId xmlns:a16="http://schemas.microsoft.com/office/drawing/2014/main" id="{21D37160-D8F1-4BC5-B856-3229E42C5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62" y="147706"/>
            <a:ext cx="9144000" cy="6655898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8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121091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3AAF4592-82EF-4CB9-9BB6-C4A667A099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3" y="225363"/>
            <a:ext cx="9144000" cy="6444598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9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286517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ACF48F6-F4C9-4A0D-AAC6-2532024D1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常見的問題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</a:t>
            </a:fld>
            <a:endParaRPr lang="en-US" altLang="zh-TW" dirty="0"/>
          </a:p>
        </p:txBody>
      </p:sp>
      <p:sp>
        <p:nvSpPr>
          <p:cNvPr id="7" name="內容版面配置區 1">
            <a:extLst>
              <a:ext uri="{FF2B5EF4-FFF2-40B4-BE49-F238E27FC236}">
                <a16:creationId xmlns:a16="http://schemas.microsoft.com/office/drawing/2014/main" id="{BDD5124D-EBA6-4B56-A6F9-7A0DD7B60D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2"/>
            <a:ext cx="8077200" cy="4525963"/>
          </a:xfrm>
        </p:spPr>
        <p:txBody>
          <a:bodyPr/>
          <a:lstStyle/>
          <a:p>
            <a:pPr marL="0" indent="0">
              <a:buNone/>
            </a:pPr>
            <a:endParaRPr lang="en-US" altLang="zh-TW" dirty="0"/>
          </a:p>
          <a:p>
            <a:r>
              <a:rPr lang="en-US" altLang="zh-TW" dirty="0"/>
              <a:t>OO</a:t>
            </a:r>
            <a:r>
              <a:rPr lang="zh-TW" altLang="en-US" dirty="0"/>
              <a:t>用的好好的，為什麼要換</a:t>
            </a:r>
            <a:r>
              <a:rPr lang="en-US" altLang="zh-TW" dirty="0"/>
              <a:t>GIT</a:t>
            </a:r>
            <a:r>
              <a:rPr lang="zh-TW" altLang="en-US" dirty="0"/>
              <a:t>？</a:t>
            </a:r>
            <a:endParaRPr lang="en-US" altLang="zh-TW" dirty="0"/>
          </a:p>
          <a:p>
            <a:endParaRPr lang="en-US" altLang="zh-TW" dirty="0"/>
          </a:p>
          <a:p>
            <a:endParaRPr lang="en-US" altLang="zh-TW" dirty="0"/>
          </a:p>
          <a:p>
            <a:r>
              <a:rPr lang="en-US" altLang="zh-TW" dirty="0"/>
              <a:t>GIT </a:t>
            </a:r>
            <a:r>
              <a:rPr lang="zh-TW" altLang="en-US" dirty="0"/>
              <a:t>和 </a:t>
            </a:r>
            <a:r>
              <a:rPr lang="en-US" altLang="zh-TW" dirty="0"/>
              <a:t>OO</a:t>
            </a:r>
            <a:r>
              <a:rPr lang="zh-TW" altLang="en-US" dirty="0"/>
              <a:t> 有什麼區別？</a:t>
            </a:r>
            <a:endParaRPr lang="en-US" altLang="zh-TW" dirty="0"/>
          </a:p>
          <a:p>
            <a:endParaRPr lang="en-US" altLang="zh-TW" dirty="0"/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02923979"/>
      </p:ext>
    </p:extLst>
  </p:cSld>
  <p:clrMapOvr>
    <a:masterClrMapping/>
  </p:clrMapOvr>
  <p:transition spd="slow">
    <p:zoom dir="in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ED927BE8-08DD-4E2E-96C4-6CC9A9193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3" y="115611"/>
            <a:ext cx="9144000" cy="6701425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0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9098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>
            <a:extLst>
              <a:ext uri="{FF2B5EF4-FFF2-40B4-BE49-F238E27FC236}">
                <a16:creationId xmlns:a16="http://schemas.microsoft.com/office/drawing/2014/main" id="{76663452-007C-4332-8D15-914988587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45" y="161135"/>
            <a:ext cx="9144000" cy="6554391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1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319649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97418436-B9C4-4824-A0F1-F21ED2B445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62" y="152630"/>
            <a:ext cx="9144000" cy="6702035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2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399477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5D71A1D1-480F-4B7A-B07E-9CBFE5884C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3" y="186186"/>
            <a:ext cx="9144000" cy="6541614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3</a:t>
            </a:fld>
            <a:endParaRPr lang="en-US" altLang="zh-TW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E824B953-BC78-43A5-82F0-6B3E291404BC}"/>
              </a:ext>
            </a:extLst>
          </p:cNvPr>
          <p:cNvSpPr txBox="1"/>
          <p:nvPr/>
        </p:nvSpPr>
        <p:spPr>
          <a:xfrm>
            <a:off x="4953000" y="6368534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/>
              <a:t>資料來源：</a:t>
            </a:r>
            <a:r>
              <a:rPr lang="zh-TW" altLang="en-US" b="1" dirty="0">
                <a:hlinkClick r:id="rId3"/>
              </a:rPr>
              <a:t>你知道 </a:t>
            </a:r>
            <a:r>
              <a:rPr lang="en-US" altLang="zh-TW" b="1" dirty="0">
                <a:hlinkClick r:id="rId3"/>
              </a:rPr>
              <a:t>Git </a:t>
            </a:r>
            <a:r>
              <a:rPr lang="zh-TW" altLang="en-US" b="1" dirty="0">
                <a:hlinkClick r:id="rId3"/>
              </a:rPr>
              <a:t>是怎麼一回事嗎？</a:t>
            </a:r>
            <a:endParaRPr lang="zh-TW" altLang="en-US" b="1" dirty="0"/>
          </a:p>
        </p:txBody>
      </p:sp>
    </p:spTree>
    <p:extLst>
      <p:ext uri="{BB962C8B-B14F-4D97-AF65-F5344CB8AC3E}">
        <p14:creationId xmlns:p14="http://schemas.microsoft.com/office/powerpoint/2010/main" val="185729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>
            <a:extLst>
              <a:ext uri="{FF2B5EF4-FFF2-40B4-BE49-F238E27FC236}">
                <a16:creationId xmlns:a16="http://schemas.microsoft.com/office/drawing/2014/main" id="{A9F529C3-C941-49FD-8C67-82F134F64B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0586029-32A0-47E5-9AEC-AE3ABA6B9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772" name="Picture 4" descr="ãsystem crashãçåçæå°çµæ">
            <a:extLst>
              <a:ext uri="{FF2B5EF4-FFF2-40B4-BE49-F238E27FC236}">
                <a16:creationId xmlns:a16="http://schemas.microsoft.com/office/drawing/2014/main" id="{C8FB8097-D889-49A3-B6E8-99C4A4E76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2600" y="2312145"/>
            <a:ext cx="3971037" cy="2233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C730EAB-A532-4295-A302-FB4B90DB9F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559968" y="1143000"/>
            <a:ext cx="0" cy="4572000"/>
          </a:xfrm>
          <a:prstGeom prst="line">
            <a:avLst/>
          </a:prstGeom>
          <a:ln>
            <a:solidFill>
              <a:srgbClr val="4E4E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770" name="Picture 2" descr="ãä¸ç­å¦ãçåçæå°çµæ">
            <a:extLst>
              <a:ext uri="{FF2B5EF4-FFF2-40B4-BE49-F238E27FC236}">
                <a16:creationId xmlns:a16="http://schemas.microsoft.com/office/drawing/2014/main" id="{CD2D1B5B-DF43-4A1C-A497-80DEAFC6F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90362" y="1461697"/>
            <a:ext cx="3971037" cy="3934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0EEDCC4-41CE-4575-9148-E3F3CEE75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6356350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34</a:t>
            </a:fld>
            <a:endParaRPr lang="en-US" altLang="zh-TW">
              <a:solidFill>
                <a:schemeClr val="tx1">
                  <a:tint val="75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26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501EFE5E-C056-4702-8D23-E625C7B08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 dirty="0"/>
              <a:t>區分檔案，每個人負責一隻</a:t>
            </a:r>
            <a:endParaRPr lang="en-US" altLang="zh-TW" dirty="0"/>
          </a:p>
          <a:p>
            <a:endParaRPr lang="en-US" altLang="zh-TW" dirty="0"/>
          </a:p>
          <a:p>
            <a:r>
              <a:rPr lang="zh-TW" altLang="en-US" dirty="0"/>
              <a:t>鎖定</a:t>
            </a:r>
            <a:r>
              <a:rPr lang="en-US" altLang="zh-TW" dirty="0">
                <a:sym typeface="Wingdings" panose="05000000000000000000" pitchFamily="2" charset="2"/>
              </a:rPr>
              <a:t></a:t>
            </a:r>
            <a:r>
              <a:rPr lang="zh-TW" altLang="en-US" dirty="0">
                <a:sym typeface="Wingdings" panose="05000000000000000000" pitchFamily="2" charset="2"/>
              </a:rPr>
              <a:t>修改</a:t>
            </a:r>
            <a:r>
              <a:rPr lang="en-US" altLang="zh-TW" dirty="0">
                <a:sym typeface="Wingdings" panose="05000000000000000000" pitchFamily="2" charset="2"/>
              </a:rPr>
              <a:t></a:t>
            </a:r>
            <a:r>
              <a:rPr lang="zh-TW" altLang="en-US" dirty="0">
                <a:sym typeface="Wingdings" panose="05000000000000000000" pitchFamily="2" charset="2"/>
              </a:rPr>
              <a:t>鎖定</a:t>
            </a:r>
            <a:endParaRPr lang="en-US" altLang="zh-TW" dirty="0"/>
          </a:p>
          <a:p>
            <a:endParaRPr lang="en-US" altLang="zh-TW" dirty="0"/>
          </a:p>
          <a:p>
            <a:r>
              <a:rPr lang="zh-TW" altLang="en-US" dirty="0"/>
              <a:t>複製</a:t>
            </a:r>
            <a:r>
              <a:rPr lang="en-US" altLang="zh-TW" dirty="0">
                <a:sym typeface="Wingdings" panose="05000000000000000000" pitchFamily="2" charset="2"/>
              </a:rPr>
              <a:t></a:t>
            </a:r>
            <a:r>
              <a:rPr lang="zh-TW" altLang="en-US" dirty="0">
                <a:sym typeface="Wingdings" panose="05000000000000000000" pitchFamily="2" charset="2"/>
              </a:rPr>
              <a:t>修改</a:t>
            </a:r>
            <a:r>
              <a:rPr lang="en-US" altLang="zh-TW" dirty="0">
                <a:sym typeface="Wingdings" panose="05000000000000000000" pitchFamily="2" charset="2"/>
              </a:rPr>
              <a:t></a:t>
            </a:r>
            <a:r>
              <a:rPr lang="zh-TW" altLang="en-US" dirty="0">
                <a:sym typeface="Wingdings" panose="05000000000000000000" pitchFamily="2" charset="2"/>
              </a:rPr>
              <a:t>合併</a:t>
            </a: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D58B44C1-0D8C-4883-B83A-51CC26D25B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集中式，如何多人協作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37FA372-6C56-4DDC-BC3D-6449517285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5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60145009"/>
      </p:ext>
    </p:extLst>
  </p:cSld>
  <p:clrMapOvr>
    <a:masterClrMapping/>
  </p:clrMapOvr>
  <p:transition spd="slow">
    <p:zoom dir="in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D58B44C1-0D8C-4883-B83A-51CC26D25B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erver</a:t>
            </a:r>
            <a:r>
              <a:rPr lang="zh-TW" altLang="en-US" dirty="0"/>
              <a:t>掛掉 </a:t>
            </a:r>
            <a:r>
              <a:rPr lang="en-US" altLang="zh-TW" dirty="0"/>
              <a:t>\ </a:t>
            </a:r>
            <a:r>
              <a:rPr lang="zh-TW" altLang="en-US" dirty="0"/>
              <a:t>網路掛掉 怎麼辦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37FA372-6C56-4DDC-BC3D-6449517285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6</a:t>
            </a:fld>
            <a:endParaRPr lang="en-US" altLang="zh-TW" dirty="0"/>
          </a:p>
        </p:txBody>
      </p:sp>
      <p:pic>
        <p:nvPicPr>
          <p:cNvPr id="6" name="Picture 2" descr="ãä¸ç­å¦ãçåçæå°çµæ">
            <a:extLst>
              <a:ext uri="{FF2B5EF4-FFF2-40B4-BE49-F238E27FC236}">
                <a16:creationId xmlns:a16="http://schemas.microsoft.com/office/drawing/2014/main" id="{1E017E06-75AA-4FE7-BC4C-8B5AB68D1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86481" y="1838045"/>
            <a:ext cx="3971037" cy="3934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9136576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2">
            <a:extLst>
              <a:ext uri="{FF2B5EF4-FFF2-40B4-BE49-F238E27FC236}">
                <a16:creationId xmlns:a16="http://schemas.microsoft.com/office/drawing/2014/main" id="{00A78AB0-630F-4074-9CEF-B0D62EAAC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365125"/>
            <a:ext cx="3840085" cy="16927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zh-TW" sz="4400" kern="1200">
                <a:solidFill>
                  <a:schemeClr val="tx1"/>
                </a:solidFill>
                <a:latin typeface="+mj-lt"/>
                <a:ea typeface="+mj-ea"/>
              </a:rPr>
              <a:t>GIT</a:t>
            </a:r>
            <a:r>
              <a:rPr lang="zh-TW" altLang="en-US" sz="4400" kern="1200">
                <a:solidFill>
                  <a:schemeClr val="tx1"/>
                </a:solidFill>
                <a:latin typeface="+mj-lt"/>
                <a:ea typeface="+mj-ea"/>
              </a:rPr>
              <a:t>的缺點</a:t>
            </a:r>
          </a:p>
        </p:txBody>
      </p:sp>
      <p:cxnSp>
        <p:nvCxnSpPr>
          <p:cNvPr id="33796" name="Straight Arrow Connector 70">
            <a:extLst>
              <a:ext uri="{FF2B5EF4-FFF2-40B4-BE49-F238E27FC236}">
                <a16:creationId xmlns:a16="http://schemas.microsoft.com/office/drawing/2014/main" id="{E4A809D5-3600-46D4-A466-67F2349A5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490" y="2316480"/>
            <a:ext cx="34290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內容版面配置區 1">
            <a:extLst>
              <a:ext uri="{FF2B5EF4-FFF2-40B4-BE49-F238E27FC236}">
                <a16:creationId xmlns:a16="http://schemas.microsoft.com/office/drawing/2014/main" id="{1D8777C1-951D-4FFF-B7D7-019BD8F9C8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0" y="2514600"/>
            <a:ext cx="4613910" cy="3781315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indent="-228600" eaLnBrk="1" hangingPunct="1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TW" altLang="en-US" sz="2000" kern="1200" dirty="0">
                <a:solidFill>
                  <a:schemeClr val="tx1"/>
                </a:solidFill>
              </a:rPr>
              <a:t>易學難精</a:t>
            </a:r>
            <a:endParaRPr lang="en-US" altLang="zh-TW" sz="2000" kern="1200" dirty="0">
              <a:solidFill>
                <a:schemeClr val="tx1"/>
              </a:solidFill>
            </a:endParaRPr>
          </a:p>
          <a:p>
            <a:pPr indent="-228600" eaLnBrk="1" hangingPunct="1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TW" altLang="en-US" sz="2000" kern="1200" dirty="0">
                <a:solidFill>
                  <a:schemeClr val="tx1"/>
                </a:solidFill>
              </a:rPr>
              <a:t>資安風險</a:t>
            </a:r>
            <a:endParaRPr lang="en-US" altLang="zh-TW" sz="2000" kern="1200" dirty="0">
              <a:solidFill>
                <a:schemeClr val="tx1"/>
              </a:solidFill>
            </a:endParaRPr>
          </a:p>
          <a:p>
            <a:pPr indent="-228600" eaLnBrk="1" hangingPunct="1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TW" altLang="en-US" sz="2000" kern="1200" dirty="0">
                <a:solidFill>
                  <a:schemeClr val="tx1"/>
                </a:solidFill>
              </a:rPr>
              <a:t>非文字檔不適合</a:t>
            </a:r>
            <a:endParaRPr lang="en-US" altLang="zh-TW" sz="2000" kern="1200" dirty="0">
              <a:solidFill>
                <a:schemeClr val="tx1"/>
              </a:solidFill>
            </a:endParaRPr>
          </a:p>
          <a:p>
            <a:pPr indent="-228600" eaLnBrk="1" hangingPunct="1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TW" altLang="en-US" sz="2000" kern="1200" dirty="0">
                <a:solidFill>
                  <a:schemeClr val="tx1"/>
                </a:solidFill>
              </a:rPr>
              <a:t>需要成員遵守</a:t>
            </a:r>
            <a:r>
              <a:rPr lang="en-US" altLang="zh-TW" sz="2000" kern="1200" dirty="0">
                <a:solidFill>
                  <a:schemeClr val="tx1"/>
                </a:solidFill>
              </a:rPr>
              <a:t>git flow</a:t>
            </a:r>
          </a:p>
          <a:p>
            <a:pPr indent="-228600" eaLnBrk="1" hangingPunct="1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TW" altLang="en-US" sz="2000" kern="1200" dirty="0">
                <a:solidFill>
                  <a:schemeClr val="tx1"/>
                </a:solidFill>
              </a:rPr>
              <a:t>指令不統一</a:t>
            </a:r>
            <a:endParaRPr lang="en-US" altLang="zh-TW" sz="2000" kern="1200" dirty="0">
              <a:solidFill>
                <a:schemeClr val="tx1"/>
              </a:solidFill>
            </a:endParaRPr>
          </a:p>
          <a:p>
            <a:pPr indent="-228600" eaLnBrk="1" hangingPunct="1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TW" altLang="en-US" sz="2000" kern="1200" dirty="0">
                <a:solidFill>
                  <a:schemeClr val="tx1"/>
                </a:solidFill>
              </a:rPr>
              <a:t>沒網路也能使用只是傳說，</a:t>
            </a:r>
            <a:br>
              <a:rPr lang="en-US" altLang="zh-TW" sz="2000" kern="1200" dirty="0">
                <a:solidFill>
                  <a:schemeClr val="tx1"/>
                </a:solidFill>
              </a:rPr>
            </a:br>
            <a:r>
              <a:rPr lang="zh-TW" altLang="en-US" sz="2000" kern="1200" dirty="0">
                <a:solidFill>
                  <a:schemeClr val="tx1"/>
                </a:solidFill>
              </a:rPr>
              <a:t>因為查不了</a:t>
            </a:r>
            <a:r>
              <a:rPr lang="en-US" altLang="zh-TW" sz="2000" kern="1200" dirty="0">
                <a:solidFill>
                  <a:schemeClr val="tx1"/>
                </a:solidFill>
              </a:rPr>
              <a:t>GIT</a:t>
            </a:r>
            <a:r>
              <a:rPr lang="zh-TW" altLang="en-US" sz="2000" kern="1200" dirty="0">
                <a:solidFill>
                  <a:schemeClr val="tx1"/>
                </a:solidFill>
              </a:rPr>
              <a:t>指令</a:t>
            </a:r>
            <a:endParaRPr lang="en-US" altLang="zh-TW" sz="2000" kern="1200" dirty="0">
              <a:solidFill>
                <a:schemeClr val="tx1"/>
              </a:solidFill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756B0DE-D0E5-45F8-9EB5-C27AD4AC61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206365" y="6356350"/>
            <a:ext cx="874395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600"/>
              </a:spcAft>
              <a:defRPr/>
            </a:pPr>
            <a:fld id="{7A6790E0-BEF4-4832-A75A-9EE1100ED3A6}" type="slidenum">
              <a:rPr kumimoji="0" lang="en-US" altLang="zh-TW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algn="r" fontAlgn="auto">
                <a:spcBef>
                  <a:spcPts val="0"/>
                </a:spcBef>
                <a:spcAft>
                  <a:spcPts val="600"/>
                </a:spcAft>
                <a:defRPr/>
              </a:pPr>
              <a:t>37</a:t>
            </a:fld>
            <a:endParaRPr kumimoji="0" lang="en-US" altLang="zh-TW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33794" name="Picture 2" descr="ãgit å£èãçåçæå°çµæ">
            <a:extLst>
              <a:ext uri="{FF2B5EF4-FFF2-40B4-BE49-F238E27FC236}">
                <a16:creationId xmlns:a16="http://schemas.microsoft.com/office/drawing/2014/main" id="{D912FF41-6A49-45CB-9CAE-9608D51C58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12" r="18020" b="1"/>
          <a:stretch/>
        </p:blipFill>
        <p:spPr bwMode="auto">
          <a:xfrm>
            <a:off x="4409136" y="10"/>
            <a:ext cx="4734863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9396997"/>
      </p:ext>
    </p:extLst>
  </p:cSld>
  <p:clrMapOvr>
    <a:masterClrMapping/>
  </p:clrMapOvr>
  <p:transition spd="slow">
    <p:zoom dir="in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         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49615835"/>
      </p:ext>
    </p:extLst>
  </p:cSld>
  <p:clrMapOvr>
    <a:masterClrMapping/>
  </p:clrMapOvr>
  <p:transition>
    <p:fade thruBlk="1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三大物件成員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9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03B3D97F-2109-4443-97BD-181FF27D9D7C}"/>
              </a:ext>
            </a:extLst>
          </p:cNvPr>
          <p:cNvSpPr/>
          <p:nvPr/>
        </p:nvSpPr>
        <p:spPr bwMode="auto">
          <a:xfrm>
            <a:off x="845976" y="1752600"/>
            <a:ext cx="3124200" cy="15240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743564BA-A2E5-4987-AA36-0A5F4159022E}"/>
              </a:ext>
            </a:extLst>
          </p:cNvPr>
          <p:cNvSpPr/>
          <p:nvPr/>
        </p:nvSpPr>
        <p:spPr bwMode="auto">
          <a:xfrm>
            <a:off x="5257800" y="1721498"/>
            <a:ext cx="3124200" cy="1524000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5" name="流程圖: 替代程序 24">
            <a:extLst>
              <a:ext uri="{FF2B5EF4-FFF2-40B4-BE49-F238E27FC236}">
                <a16:creationId xmlns:a16="http://schemas.microsoft.com/office/drawing/2014/main" id="{158973E8-9B6E-4ABD-A954-4F854693D1A7}"/>
              </a:ext>
            </a:extLst>
          </p:cNvPr>
          <p:cNvSpPr/>
          <p:nvPr/>
        </p:nvSpPr>
        <p:spPr bwMode="auto">
          <a:xfrm>
            <a:off x="3200400" y="4267200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09546921"/>
      </p:ext>
    </p:extLst>
  </p:cSld>
  <p:clrMapOvr>
    <a:masterClrMapping/>
  </p:clrMapOvr>
  <p:transition spd="slow">
    <p:zoom dir="in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53070A36-8CBF-4A7A-B974-F70DCAFF1E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 dirty="0"/>
              <a:t>目前世界上最先進的內容追蹤軟體</a:t>
            </a:r>
            <a:endParaRPr lang="en-US" altLang="zh-TW" dirty="0"/>
          </a:p>
          <a:p>
            <a:r>
              <a:rPr lang="en-US" altLang="zh-TW" dirty="0"/>
              <a:t>Linux </a:t>
            </a:r>
            <a:r>
              <a:rPr lang="zh-TW" altLang="en-US" dirty="0"/>
              <a:t>之父第二個偉大作品</a:t>
            </a:r>
            <a:endParaRPr lang="en-US" altLang="zh-TW" dirty="0"/>
          </a:p>
          <a:p>
            <a:r>
              <a:rPr lang="zh-TW" altLang="en-US" dirty="0"/>
              <a:t>免費</a:t>
            </a:r>
            <a:endParaRPr lang="en-US" altLang="zh-TW" dirty="0"/>
          </a:p>
          <a:p>
            <a:r>
              <a:rPr lang="zh-TW" altLang="en-US" dirty="0"/>
              <a:t>分散式架構</a:t>
            </a:r>
            <a:endParaRPr lang="en-US" altLang="zh-TW" dirty="0"/>
          </a:p>
          <a:p>
            <a:r>
              <a:rPr lang="zh-TW" altLang="en-US" dirty="0"/>
              <a:t>圖形介面工具輔助</a:t>
            </a:r>
            <a:endParaRPr lang="en-US" altLang="zh-TW" dirty="0"/>
          </a:p>
          <a:p>
            <a:r>
              <a:rPr lang="zh-TW" altLang="en-US" dirty="0"/>
              <a:t>入門容易</a:t>
            </a:r>
            <a:endParaRPr lang="en-US" altLang="zh-TW" dirty="0"/>
          </a:p>
          <a:p>
            <a:r>
              <a:rPr lang="zh-TW" altLang="en-US" dirty="0"/>
              <a:t>整合</a:t>
            </a:r>
            <a:r>
              <a:rPr lang="en-US" altLang="zh-TW" dirty="0"/>
              <a:t>DevOps</a:t>
            </a:r>
            <a:r>
              <a:rPr lang="zh-TW" altLang="en-US" dirty="0"/>
              <a:t>利器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FACF48F6-F4C9-4A0D-AAC6-2532024D1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Motivation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E46AE07-C5B6-4D82-BA5C-4B85A8C84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50910291"/>
      </p:ext>
    </p:extLst>
  </p:cSld>
  <p:clrMapOvr>
    <a:masterClrMapping/>
  </p:clrMapOvr>
  <p:transition spd="slow">
    <p:zoom dir="in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--blob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0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03B3D97F-2109-4443-97BD-181FF27D9D7C}"/>
              </a:ext>
            </a:extLst>
          </p:cNvPr>
          <p:cNvSpPr/>
          <p:nvPr/>
        </p:nvSpPr>
        <p:spPr bwMode="auto">
          <a:xfrm>
            <a:off x="4953000" y="76200"/>
            <a:ext cx="3124200" cy="15240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內容版面配置區 1">
            <a:extLst>
              <a:ext uri="{FF2B5EF4-FFF2-40B4-BE49-F238E27FC236}">
                <a16:creationId xmlns:a16="http://schemas.microsoft.com/office/drawing/2014/main" id="{F40D5D3C-B4B0-4DEB-AFE3-AC7038400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dirty="0"/>
          </a:p>
          <a:p>
            <a:r>
              <a:rPr lang="zh-TW" altLang="en-US" dirty="0"/>
              <a:t>以</a:t>
            </a:r>
            <a:r>
              <a:rPr lang="en-US" altLang="zh-TW" dirty="0"/>
              <a:t>SHA1</a:t>
            </a:r>
            <a:r>
              <a:rPr lang="zh-TW" altLang="en-US" dirty="0"/>
              <a:t>方式命名，儲存檔案內容 </a:t>
            </a:r>
            <a:endParaRPr lang="en-US" altLang="zh-TW" dirty="0"/>
          </a:p>
          <a:p>
            <a:pPr marL="0" indent="0">
              <a:buNone/>
            </a:pPr>
            <a:r>
              <a:rPr lang="en-US" altLang="zh-TW" dirty="0"/>
              <a:t>   </a:t>
            </a:r>
            <a:r>
              <a:rPr lang="zh-TW" altLang="en-US" dirty="0"/>
              <a:t>至</a:t>
            </a:r>
            <a:r>
              <a:rPr lang="en-US" altLang="zh-TW" dirty="0"/>
              <a:t>.git\objects</a:t>
            </a:r>
          </a:p>
          <a:p>
            <a:pPr marL="0" indent="0">
              <a:buNone/>
            </a:pPr>
            <a:endParaRPr lang="en-US" altLang="zh-TW" dirty="0"/>
          </a:p>
          <a:p>
            <a:pPr marL="0" indent="0">
              <a:buNone/>
            </a:pPr>
            <a:r>
              <a:rPr lang="en-US" altLang="zh-TW" dirty="0"/>
              <a:t>SHA1('</a:t>
            </a:r>
            <a:r>
              <a:rPr lang="en-US" altLang="zh-TW" dirty="0">
                <a:solidFill>
                  <a:srgbClr val="00B0F0"/>
                </a:solidFill>
              </a:rPr>
              <a:t>hello</a:t>
            </a:r>
            <a:r>
              <a:rPr lang="en-US" altLang="zh-TW" dirty="0"/>
              <a:t>') </a:t>
            </a:r>
            <a:r>
              <a:rPr lang="en-US" altLang="zh-TW" dirty="0">
                <a:sym typeface="Wingdings" panose="05000000000000000000" pitchFamily="2" charset="2"/>
              </a:rPr>
              <a:t> </a:t>
            </a:r>
            <a:r>
              <a:rPr lang="en-US" altLang="zh-TW" sz="1600" dirty="0">
                <a:solidFill>
                  <a:srgbClr val="7030A0"/>
                </a:solidFill>
                <a:highlight>
                  <a:srgbClr val="FFBDBD"/>
                </a:highlight>
              </a:rPr>
              <a:t>aaf4c61ddcc5e8a2dabede0f3b482cd9aea9434d</a:t>
            </a:r>
            <a:endParaRPr lang="en-US" altLang="zh-TW" dirty="0">
              <a:solidFill>
                <a:srgbClr val="7030A0"/>
              </a:solidFill>
              <a:highlight>
                <a:srgbClr val="FFBDBD"/>
              </a:highlight>
            </a:endParaRPr>
          </a:p>
          <a:p>
            <a:pPr marL="0" indent="0">
              <a:buNone/>
            </a:pPr>
            <a:endParaRPr lang="en-US" altLang="zh-TW" dirty="0"/>
          </a:p>
          <a:p>
            <a:r>
              <a:rPr lang="zh-TW" altLang="en-US" dirty="0">
                <a:solidFill>
                  <a:srgbClr val="222222"/>
                </a:solidFill>
                <a:latin typeface="PT Serif"/>
              </a:rPr>
              <a:t>相同的內容的檔案，不管有多少個，</a:t>
            </a:r>
            <a:endParaRPr lang="en-US" altLang="zh-TW" dirty="0">
              <a:solidFill>
                <a:srgbClr val="222222"/>
              </a:solidFill>
              <a:latin typeface="PT Serif"/>
            </a:endParaRPr>
          </a:p>
          <a:p>
            <a:pPr marL="0" indent="0">
              <a:buNone/>
            </a:pPr>
            <a:r>
              <a:rPr lang="en-US" altLang="zh-TW" dirty="0">
                <a:solidFill>
                  <a:srgbClr val="222222"/>
                </a:solidFill>
                <a:latin typeface="PT Serif"/>
              </a:rPr>
              <a:t>   </a:t>
            </a:r>
            <a:r>
              <a:rPr lang="zh-TW" altLang="en-US" dirty="0">
                <a:solidFill>
                  <a:srgbClr val="222222"/>
                </a:solidFill>
                <a:latin typeface="PT Serif"/>
              </a:rPr>
              <a:t>在 </a:t>
            </a:r>
            <a:r>
              <a:rPr lang="en-US" altLang="zh-TW" dirty="0">
                <a:solidFill>
                  <a:srgbClr val="222222"/>
                </a:solidFill>
                <a:latin typeface="PT Serif"/>
              </a:rPr>
              <a:t>Git </a:t>
            </a:r>
            <a:r>
              <a:rPr lang="zh-TW" altLang="en-US" dirty="0">
                <a:solidFill>
                  <a:srgbClr val="222222"/>
                </a:solidFill>
                <a:latin typeface="PT Serif"/>
              </a:rPr>
              <a:t>裡面都只會存一份而已。</a:t>
            </a:r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70110765"/>
      </p:ext>
    </p:extLst>
  </p:cSld>
  <p:clrMapOvr>
    <a:masterClrMapping/>
  </p:clrMapOvr>
  <p:transition spd="slow">
    <p:zoom dir="in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53169AB-64AB-4DC3-A8D5-44518E6571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1</a:t>
            </a:fld>
            <a:endParaRPr lang="en-US" altLang="zh-TW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385FBCEF-85A1-4113-8347-47BF6DB1B9D4}"/>
              </a:ext>
            </a:extLst>
          </p:cNvPr>
          <p:cNvSpPr/>
          <p:nvPr/>
        </p:nvSpPr>
        <p:spPr>
          <a:xfrm>
            <a:off x="2209800" y="2971800"/>
            <a:ext cx="51816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dirty="0">
                <a:solidFill>
                  <a:srgbClr val="222222"/>
                </a:solidFill>
                <a:latin typeface="PT Serif"/>
              </a:rPr>
              <a:t>「</a:t>
            </a:r>
            <a:r>
              <a:rPr lang="en-US" altLang="zh-TW" sz="3200" dirty="0">
                <a:solidFill>
                  <a:srgbClr val="222222"/>
                </a:solidFill>
                <a:latin typeface="PT Serif"/>
              </a:rPr>
              <a:t>Git </a:t>
            </a:r>
            <a:r>
              <a:rPr lang="zh-TW" altLang="en-US" sz="3200" dirty="0">
                <a:solidFill>
                  <a:srgbClr val="222222"/>
                </a:solidFill>
                <a:latin typeface="PT Serif"/>
              </a:rPr>
              <a:t>只在乎檔案的內容，</a:t>
            </a:r>
            <a:endParaRPr lang="en-US" altLang="zh-TW" sz="3200" dirty="0">
              <a:solidFill>
                <a:srgbClr val="222222"/>
              </a:solidFill>
              <a:latin typeface="PT Serif"/>
            </a:endParaRPr>
          </a:p>
          <a:p>
            <a:r>
              <a:rPr lang="en-US" altLang="zh-TW" sz="3200" dirty="0">
                <a:solidFill>
                  <a:srgbClr val="222222"/>
                </a:solidFill>
                <a:latin typeface="PT Serif"/>
              </a:rPr>
              <a:t>   </a:t>
            </a:r>
            <a:r>
              <a:rPr lang="zh-TW" altLang="en-US" sz="3200" dirty="0">
                <a:solidFill>
                  <a:srgbClr val="222222"/>
                </a:solidFill>
                <a:latin typeface="PT Serif"/>
              </a:rPr>
              <a:t>不在乎目錄或檔案名稱」</a:t>
            </a:r>
            <a:endParaRPr lang="zh-TW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642274231"/>
      </p:ext>
    </p:extLst>
  </p:cSld>
  <p:clrMapOvr>
    <a:masterClrMapping/>
  </p:clrMapOvr>
  <p:transition spd="slow">
    <p:zoom dir="in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--tree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2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9C6DB994-FE04-4BB5-B6F4-35707A84DE2B}"/>
              </a:ext>
            </a:extLst>
          </p:cNvPr>
          <p:cNvSpPr/>
          <p:nvPr/>
        </p:nvSpPr>
        <p:spPr bwMode="auto">
          <a:xfrm>
            <a:off x="5181600" y="-27671"/>
            <a:ext cx="3124200" cy="1524000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內容版面配置區 1">
            <a:extLst>
              <a:ext uri="{FF2B5EF4-FFF2-40B4-BE49-F238E27FC236}">
                <a16:creationId xmlns:a16="http://schemas.microsoft.com/office/drawing/2014/main" id="{79968524-0FAE-4AAB-AA02-CC6EFD32C5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dirty="0"/>
          </a:p>
          <a:p>
            <a:r>
              <a:rPr lang="zh-TW" altLang="en-US" dirty="0"/>
              <a:t>以</a:t>
            </a:r>
            <a:r>
              <a:rPr lang="en-US" altLang="zh-TW" dirty="0"/>
              <a:t>SHA1</a:t>
            </a:r>
            <a:r>
              <a:rPr lang="zh-TW" altLang="en-US" dirty="0"/>
              <a:t>方式命名，儲存檔案關聯性</a:t>
            </a:r>
            <a:endParaRPr lang="en-US" altLang="zh-TW" dirty="0"/>
          </a:p>
          <a:p>
            <a:pPr marL="0" indent="0">
              <a:buNone/>
            </a:pPr>
            <a:r>
              <a:rPr lang="zh-TW" altLang="en-US" dirty="0"/>
              <a:t>   至</a:t>
            </a:r>
            <a:r>
              <a:rPr lang="en-US" altLang="zh-TW" dirty="0"/>
              <a:t>.git\objects</a:t>
            </a:r>
          </a:p>
          <a:p>
            <a:pPr marL="0" indent="0">
              <a:buNone/>
            </a:pPr>
            <a:endParaRPr lang="en-US" altLang="zh-TW" dirty="0"/>
          </a:p>
          <a:p>
            <a:r>
              <a:rPr lang="en-US" altLang="zh-TW" dirty="0">
                <a:solidFill>
                  <a:srgbClr val="222222"/>
                </a:solidFill>
                <a:latin typeface="PT Serif"/>
              </a:rPr>
              <a:t>tree</a:t>
            </a:r>
            <a:r>
              <a:rPr lang="zh-TW" altLang="en-US" dirty="0">
                <a:solidFill>
                  <a:srgbClr val="222222"/>
                </a:solidFill>
                <a:latin typeface="PT Serif"/>
              </a:rPr>
              <a:t>裡面記錄</a:t>
            </a:r>
            <a:r>
              <a:rPr lang="en-US" altLang="zh-TW" dirty="0">
                <a:solidFill>
                  <a:srgbClr val="222222"/>
                </a:solidFill>
                <a:latin typeface="PT Serif"/>
              </a:rPr>
              <a:t>blob </a:t>
            </a:r>
            <a:r>
              <a:rPr lang="zh-TW" altLang="en-US" dirty="0">
                <a:solidFill>
                  <a:srgbClr val="222222"/>
                </a:solidFill>
                <a:latin typeface="PT Serif"/>
              </a:rPr>
              <a:t>或其它</a:t>
            </a:r>
            <a:r>
              <a:rPr lang="en-US" altLang="zh-TW" dirty="0">
                <a:solidFill>
                  <a:srgbClr val="222222"/>
                </a:solidFill>
                <a:latin typeface="PT Serif"/>
              </a:rPr>
              <a:t> trees</a:t>
            </a:r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55309383"/>
      </p:ext>
    </p:extLst>
  </p:cSld>
  <p:clrMapOvr>
    <a:masterClrMapping/>
  </p:clrMapOvr>
  <p:transition spd="slow">
    <p:zoom dir="in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2E946D5-D1AC-4688-8547-94F01DEFD6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3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D607A6F5-DAB4-4418-B58F-7882FA8A964C}"/>
              </a:ext>
            </a:extLst>
          </p:cNvPr>
          <p:cNvSpPr/>
          <p:nvPr/>
        </p:nvSpPr>
        <p:spPr bwMode="auto">
          <a:xfrm>
            <a:off x="3505200" y="1295400"/>
            <a:ext cx="1590184" cy="775700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9EDAF49E-AD14-4660-8B1E-96DDFE492029}"/>
              </a:ext>
            </a:extLst>
          </p:cNvPr>
          <p:cNvSpPr/>
          <p:nvPr/>
        </p:nvSpPr>
        <p:spPr bwMode="auto">
          <a:xfrm>
            <a:off x="1524000" y="3276600"/>
            <a:ext cx="1590184" cy="7757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65FD7557-7A54-4568-AD38-D3411A12446E}"/>
              </a:ext>
            </a:extLst>
          </p:cNvPr>
          <p:cNvSpPr/>
          <p:nvPr/>
        </p:nvSpPr>
        <p:spPr bwMode="auto">
          <a:xfrm>
            <a:off x="3505200" y="3276600"/>
            <a:ext cx="1590184" cy="7757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A8F8D5A2-4500-46F5-A716-A8CA6027A9DC}"/>
              </a:ext>
            </a:extLst>
          </p:cNvPr>
          <p:cNvSpPr/>
          <p:nvPr/>
        </p:nvSpPr>
        <p:spPr bwMode="auto">
          <a:xfrm>
            <a:off x="5791200" y="3276600"/>
            <a:ext cx="1590184" cy="775700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流程圖: 替代程序 8">
            <a:extLst>
              <a:ext uri="{FF2B5EF4-FFF2-40B4-BE49-F238E27FC236}">
                <a16:creationId xmlns:a16="http://schemas.microsoft.com/office/drawing/2014/main" id="{3B5910CD-F64A-4A80-9F59-DDD25ADA2AE6}"/>
              </a:ext>
            </a:extLst>
          </p:cNvPr>
          <p:cNvSpPr/>
          <p:nvPr/>
        </p:nvSpPr>
        <p:spPr bwMode="auto">
          <a:xfrm>
            <a:off x="5791200" y="4953000"/>
            <a:ext cx="1590184" cy="7757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1" name="直線單箭頭接點 10">
            <a:extLst>
              <a:ext uri="{FF2B5EF4-FFF2-40B4-BE49-F238E27FC236}">
                <a16:creationId xmlns:a16="http://schemas.microsoft.com/office/drawing/2014/main" id="{E00A15AD-B6D3-4A47-B1C7-012BB7365FF7}"/>
              </a:ext>
            </a:extLst>
          </p:cNvPr>
          <p:cNvCxnSpPr>
            <a:stCxn id="5" idx="2"/>
            <a:endCxn id="6" idx="0"/>
          </p:cNvCxnSpPr>
          <p:nvPr/>
        </p:nvCxnSpPr>
        <p:spPr bwMode="auto">
          <a:xfrm flipH="1">
            <a:off x="2319092" y="2071100"/>
            <a:ext cx="1981200" cy="12055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1F0CDBFD-CA37-4A81-9403-2B261D99910D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 bwMode="auto">
          <a:xfrm>
            <a:off x="4300292" y="2071100"/>
            <a:ext cx="0" cy="12055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45AD86DA-92C8-4D9F-989A-953A63E53E2F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 bwMode="auto">
          <a:xfrm>
            <a:off x="4300292" y="2071100"/>
            <a:ext cx="2286000" cy="12055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id="{B0B41795-C560-430A-B984-9BDD04D766E0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 bwMode="auto">
          <a:xfrm>
            <a:off x="6586292" y="4052300"/>
            <a:ext cx="0" cy="9007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62669497"/>
      </p:ext>
    </p:extLst>
  </p:cSld>
  <p:clrMapOvr>
    <a:masterClrMapping/>
  </p:clrMapOvr>
  <p:transition spd="slow">
    <p:zoom dir="in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C1E00FE-FD27-4B4A-847D-C2539C3D91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4</a:t>
            </a:fld>
            <a:endParaRPr lang="en-US" altLang="zh-TW" dirty="0"/>
          </a:p>
        </p:txBody>
      </p:sp>
      <p:pic>
        <p:nvPicPr>
          <p:cNvPr id="5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B0F616A7-F0BC-45A0-9516-5F4A3C3F1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136" y="1462445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標題 2">
            <a:extLst>
              <a:ext uri="{FF2B5EF4-FFF2-40B4-BE49-F238E27FC236}">
                <a16:creationId xmlns:a16="http://schemas.microsoft.com/office/drawing/2014/main" id="{5052DFFB-96CA-4039-8725-CDC1425B870C}"/>
              </a:ext>
            </a:extLst>
          </p:cNvPr>
          <p:cNvSpPr txBox="1">
            <a:spLocks/>
          </p:cNvSpPr>
          <p:nvPr/>
        </p:nvSpPr>
        <p:spPr bwMode="auto">
          <a:xfrm>
            <a:off x="3111463" y="1524000"/>
            <a:ext cx="314967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log</a:t>
            </a:r>
            <a:r>
              <a:rPr lang="en-US" altLang="zh-TW" sz="2800" kern="0" dirty="0"/>
              <a:t>            </a:t>
            </a:r>
            <a:r>
              <a:rPr lang="zh-TW" altLang="en-US" sz="2800" kern="0" dirty="0"/>
              <a:t>記錄</a:t>
            </a:r>
          </a:p>
        </p:txBody>
      </p:sp>
      <p:pic>
        <p:nvPicPr>
          <p:cNvPr id="7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3E9B5C45-3CC6-4263-B6E1-BAEBD4A49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136" y="2438400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標題 2">
            <a:extLst>
              <a:ext uri="{FF2B5EF4-FFF2-40B4-BE49-F238E27FC236}">
                <a16:creationId xmlns:a16="http://schemas.microsoft.com/office/drawing/2014/main" id="{2E229F95-87DF-41E6-B931-753510A76084}"/>
              </a:ext>
            </a:extLst>
          </p:cNvPr>
          <p:cNvSpPr txBox="1">
            <a:spLocks/>
          </p:cNvSpPr>
          <p:nvPr/>
        </p:nvSpPr>
        <p:spPr bwMode="auto">
          <a:xfrm>
            <a:off x="3111463" y="2499955"/>
            <a:ext cx="38214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cat-file</a:t>
            </a:r>
            <a:r>
              <a:rPr lang="en-US" altLang="zh-TW" sz="2800" kern="0" dirty="0"/>
              <a:t>     </a:t>
            </a:r>
            <a:r>
              <a:rPr lang="zh-TW" altLang="en-US" sz="2800" kern="0" dirty="0"/>
              <a:t>查看內容</a:t>
            </a: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10DBF088-18B1-4472-8EDE-DEA1F02FA2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500" y="3733800"/>
            <a:ext cx="8001000" cy="1552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540091"/>
      </p:ext>
    </p:extLst>
  </p:cSld>
  <p:clrMapOvr>
    <a:masterClrMapping/>
  </p:clrMapOvr>
  <p:transition spd="slow">
    <p:zoom dir="in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646331"/>
          </a:xfrm>
        </p:spPr>
        <p:txBody>
          <a:bodyPr/>
          <a:lstStyle/>
          <a:p>
            <a:r>
              <a:rPr lang="en-US" altLang="zh-TW" dirty="0"/>
              <a:t>GIT--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 commi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5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5FD07AA6-F798-427C-9B4D-CDC55B0C3F2C}"/>
              </a:ext>
            </a:extLst>
          </p:cNvPr>
          <p:cNvSpPr/>
          <p:nvPr/>
        </p:nvSpPr>
        <p:spPr bwMode="auto">
          <a:xfrm>
            <a:off x="5334000" y="76200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內容版面配置區 1">
            <a:extLst>
              <a:ext uri="{FF2B5EF4-FFF2-40B4-BE49-F238E27FC236}">
                <a16:creationId xmlns:a16="http://schemas.microsoft.com/office/drawing/2014/main" id="{51677CC2-A833-48DB-BA47-DF3845F251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dirty="0"/>
          </a:p>
          <a:p>
            <a:r>
              <a:rPr lang="zh-TW" altLang="en-US" dirty="0"/>
              <a:t>以</a:t>
            </a:r>
            <a:r>
              <a:rPr lang="en-US" altLang="zh-TW" dirty="0"/>
              <a:t>SHA1</a:t>
            </a:r>
            <a:r>
              <a:rPr lang="zh-TW" altLang="en-US" dirty="0"/>
              <a:t>方式命名，儲存與</a:t>
            </a:r>
            <a:r>
              <a:rPr lang="en-US" altLang="zh-TW" dirty="0"/>
              <a:t>Tree</a:t>
            </a:r>
            <a:r>
              <a:rPr lang="zh-TW" altLang="en-US" dirty="0"/>
              <a:t>關聯性</a:t>
            </a:r>
            <a:endParaRPr lang="en-US" altLang="zh-TW" dirty="0"/>
          </a:p>
          <a:p>
            <a:pPr marL="0" indent="0">
              <a:buNone/>
            </a:pPr>
            <a:r>
              <a:rPr lang="zh-TW" altLang="en-US" dirty="0"/>
              <a:t>   至</a:t>
            </a:r>
            <a:r>
              <a:rPr lang="en-US" altLang="zh-TW" dirty="0"/>
              <a:t>.git\objects</a:t>
            </a:r>
          </a:p>
          <a:p>
            <a:pPr marL="0" indent="0">
              <a:buNone/>
            </a:pPr>
            <a:endParaRPr lang="en-US" altLang="zh-TW" dirty="0"/>
          </a:p>
          <a:p>
            <a:r>
              <a:rPr lang="en-US" altLang="zh-TW" dirty="0"/>
              <a:t>Commit </a:t>
            </a:r>
            <a:r>
              <a:rPr lang="zh-TW" altLang="en-US" dirty="0"/>
              <a:t>只能紀錄 </a:t>
            </a:r>
            <a:r>
              <a:rPr lang="en-US" altLang="zh-TW" dirty="0"/>
              <a:t>Tree</a:t>
            </a:r>
            <a:r>
              <a:rPr lang="zh-TW" altLang="en-US" dirty="0"/>
              <a:t>，不能紀錄 </a:t>
            </a:r>
            <a:r>
              <a:rPr lang="en-US" altLang="zh-TW" dirty="0"/>
              <a:t>Blob</a:t>
            </a:r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96102685"/>
      </p:ext>
    </p:extLst>
  </p:cSld>
  <p:clrMapOvr>
    <a:masterClrMapping/>
  </p:clrMapOvr>
  <p:transition spd="slow">
    <p:zoom dir="in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2E946D5-D1AC-4688-8547-94F01DEFD6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6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D607A6F5-DAB4-4418-B58F-7882FA8A964C}"/>
              </a:ext>
            </a:extLst>
          </p:cNvPr>
          <p:cNvSpPr/>
          <p:nvPr/>
        </p:nvSpPr>
        <p:spPr bwMode="auto">
          <a:xfrm>
            <a:off x="3624508" y="2116790"/>
            <a:ext cx="1590184" cy="775700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9EDAF49E-AD14-4660-8B1E-96DDFE492029}"/>
              </a:ext>
            </a:extLst>
          </p:cNvPr>
          <p:cNvSpPr/>
          <p:nvPr/>
        </p:nvSpPr>
        <p:spPr bwMode="auto">
          <a:xfrm>
            <a:off x="1643308" y="4097990"/>
            <a:ext cx="1590184" cy="7757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65FD7557-7A54-4568-AD38-D3411A12446E}"/>
              </a:ext>
            </a:extLst>
          </p:cNvPr>
          <p:cNvSpPr/>
          <p:nvPr/>
        </p:nvSpPr>
        <p:spPr bwMode="auto">
          <a:xfrm>
            <a:off x="3624508" y="4097990"/>
            <a:ext cx="1590184" cy="7757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A8F8D5A2-4500-46F5-A716-A8CA6027A9DC}"/>
              </a:ext>
            </a:extLst>
          </p:cNvPr>
          <p:cNvSpPr/>
          <p:nvPr/>
        </p:nvSpPr>
        <p:spPr bwMode="auto">
          <a:xfrm>
            <a:off x="5910508" y="4097990"/>
            <a:ext cx="1590184" cy="775700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流程圖: 替代程序 8">
            <a:extLst>
              <a:ext uri="{FF2B5EF4-FFF2-40B4-BE49-F238E27FC236}">
                <a16:creationId xmlns:a16="http://schemas.microsoft.com/office/drawing/2014/main" id="{3B5910CD-F64A-4A80-9F59-DDD25ADA2AE6}"/>
              </a:ext>
            </a:extLst>
          </p:cNvPr>
          <p:cNvSpPr/>
          <p:nvPr/>
        </p:nvSpPr>
        <p:spPr bwMode="auto">
          <a:xfrm>
            <a:off x="5910508" y="5774390"/>
            <a:ext cx="1590184" cy="775700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1" name="直線單箭頭接點 10">
            <a:extLst>
              <a:ext uri="{FF2B5EF4-FFF2-40B4-BE49-F238E27FC236}">
                <a16:creationId xmlns:a16="http://schemas.microsoft.com/office/drawing/2014/main" id="{E00A15AD-B6D3-4A47-B1C7-012BB7365FF7}"/>
              </a:ext>
            </a:extLst>
          </p:cNvPr>
          <p:cNvCxnSpPr>
            <a:stCxn id="5" idx="2"/>
            <a:endCxn id="6" idx="0"/>
          </p:cNvCxnSpPr>
          <p:nvPr/>
        </p:nvCxnSpPr>
        <p:spPr bwMode="auto">
          <a:xfrm flipH="1">
            <a:off x="2438400" y="2892490"/>
            <a:ext cx="1981200" cy="12055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1F0CDBFD-CA37-4A81-9403-2B261D99910D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 bwMode="auto">
          <a:xfrm>
            <a:off x="4419600" y="2892490"/>
            <a:ext cx="0" cy="12055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45AD86DA-92C8-4D9F-989A-953A63E53E2F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 bwMode="auto">
          <a:xfrm>
            <a:off x="4419600" y="2892490"/>
            <a:ext cx="2286000" cy="12055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id="{B0B41795-C560-430A-B984-9BDD04D766E0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 bwMode="auto">
          <a:xfrm>
            <a:off x="6705600" y="4873690"/>
            <a:ext cx="0" cy="90070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FB57F32D-6352-44AA-9BF7-920F1CCF6202}"/>
              </a:ext>
            </a:extLst>
          </p:cNvPr>
          <p:cNvSpPr/>
          <p:nvPr/>
        </p:nvSpPr>
        <p:spPr bwMode="auto">
          <a:xfrm>
            <a:off x="3624508" y="386257"/>
            <a:ext cx="1590184" cy="7757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32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85550DB-AD58-4269-AB2D-40AB0E39D87E}"/>
              </a:ext>
            </a:extLst>
          </p:cNvPr>
          <p:cNvCxnSpPr>
            <a:cxnSpLocks/>
            <a:stCxn id="16" idx="2"/>
            <a:endCxn id="5" idx="0"/>
          </p:cNvCxnSpPr>
          <p:nvPr/>
        </p:nvCxnSpPr>
        <p:spPr bwMode="auto">
          <a:xfrm>
            <a:off x="4419600" y="1161957"/>
            <a:ext cx="0" cy="954833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215159648"/>
      </p:ext>
    </p:extLst>
  </p:cSld>
  <p:clrMapOvr>
    <a:masterClrMapping/>
  </p:clrMapOvr>
  <p:transition spd="slow">
    <p:zoom dir="in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C1E00FE-FD27-4B4A-847D-C2539C3D91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7</a:t>
            </a:fld>
            <a:endParaRPr lang="en-US" altLang="zh-TW" dirty="0"/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8C09E874-D840-4643-B8A1-1F1C8095C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9687" y="2133600"/>
            <a:ext cx="6753225" cy="178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877439"/>
      </p:ext>
    </p:extLst>
  </p:cSld>
  <p:clrMapOvr>
    <a:masterClrMapping/>
  </p:clrMapOvr>
  <p:transition spd="slow">
    <p:zoom dir="in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2E946D5-D1AC-4688-8547-94F01DEFD6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8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D607A6F5-DAB4-4418-B58F-7882FA8A964C}"/>
              </a:ext>
            </a:extLst>
          </p:cNvPr>
          <p:cNvSpPr/>
          <p:nvPr/>
        </p:nvSpPr>
        <p:spPr bwMode="auto">
          <a:xfrm>
            <a:off x="2485053" y="3047888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9EDAF49E-AD14-4660-8B1E-96DDFE492029}"/>
              </a:ext>
            </a:extLst>
          </p:cNvPr>
          <p:cNvSpPr/>
          <p:nvPr/>
        </p:nvSpPr>
        <p:spPr bwMode="auto">
          <a:xfrm>
            <a:off x="533400" y="4516201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65FD7557-7A54-4568-AD38-D3411A12446E}"/>
              </a:ext>
            </a:extLst>
          </p:cNvPr>
          <p:cNvSpPr/>
          <p:nvPr/>
        </p:nvSpPr>
        <p:spPr bwMode="auto">
          <a:xfrm>
            <a:off x="2514600" y="4516201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A8F8D5A2-4500-46F5-A716-A8CA6027A9DC}"/>
              </a:ext>
            </a:extLst>
          </p:cNvPr>
          <p:cNvSpPr/>
          <p:nvPr/>
        </p:nvSpPr>
        <p:spPr bwMode="auto">
          <a:xfrm>
            <a:off x="4800600" y="4516201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流程圖: 替代程序 8">
            <a:extLst>
              <a:ext uri="{FF2B5EF4-FFF2-40B4-BE49-F238E27FC236}">
                <a16:creationId xmlns:a16="http://schemas.microsoft.com/office/drawing/2014/main" id="{3B5910CD-F64A-4A80-9F59-DDD25ADA2AE6}"/>
              </a:ext>
            </a:extLst>
          </p:cNvPr>
          <p:cNvSpPr/>
          <p:nvPr/>
        </p:nvSpPr>
        <p:spPr bwMode="auto">
          <a:xfrm>
            <a:off x="4800600" y="5878322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1" name="直線單箭頭接點 10">
            <a:extLst>
              <a:ext uri="{FF2B5EF4-FFF2-40B4-BE49-F238E27FC236}">
                <a16:creationId xmlns:a16="http://schemas.microsoft.com/office/drawing/2014/main" id="{E00A15AD-B6D3-4A47-B1C7-012BB7365FF7}"/>
              </a:ext>
            </a:extLst>
          </p:cNvPr>
          <p:cNvCxnSpPr>
            <a:cxnSpLocks/>
            <a:endCxn id="6" idx="0"/>
          </p:cNvCxnSpPr>
          <p:nvPr/>
        </p:nvCxnSpPr>
        <p:spPr bwMode="auto">
          <a:xfrm flipH="1">
            <a:off x="1182872" y="3705143"/>
            <a:ext cx="1986401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1F0CDBFD-CA37-4A81-9403-2B261D99910D}"/>
              </a:ext>
            </a:extLst>
          </p:cNvPr>
          <p:cNvCxnSpPr>
            <a:cxnSpLocks/>
            <a:endCxn id="7" idx="0"/>
          </p:cNvCxnSpPr>
          <p:nvPr/>
        </p:nvCxnSpPr>
        <p:spPr bwMode="auto">
          <a:xfrm flipH="1">
            <a:off x="3164072" y="3705143"/>
            <a:ext cx="5201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45AD86DA-92C8-4D9F-989A-953A63E53E2F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>
            <a:off x="3169272" y="3705143"/>
            <a:ext cx="2280800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id="{B0B41795-C560-430A-B984-9BDD04D766E0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 bwMode="auto">
          <a:xfrm>
            <a:off x="5450072" y="5149832"/>
            <a:ext cx="0" cy="72849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FB57F32D-6352-44AA-9BF7-920F1CCF6202}"/>
              </a:ext>
            </a:extLst>
          </p:cNvPr>
          <p:cNvSpPr/>
          <p:nvPr/>
        </p:nvSpPr>
        <p:spPr bwMode="auto">
          <a:xfrm>
            <a:off x="2485052" y="1685175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85550DB-AD58-4269-AB2D-40AB0E39D87E}"/>
              </a:ext>
            </a:extLst>
          </p:cNvPr>
          <p:cNvCxnSpPr>
            <a:cxnSpLocks/>
            <a:stCxn id="16" idx="2"/>
            <a:endCxn id="5" idx="0"/>
          </p:cNvCxnSpPr>
          <p:nvPr/>
        </p:nvCxnSpPr>
        <p:spPr bwMode="auto">
          <a:xfrm>
            <a:off x="3134524" y="2318806"/>
            <a:ext cx="1" cy="72908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D7FEE987-1DB6-44F2-9216-F31A03A42995}"/>
              </a:ext>
            </a:extLst>
          </p:cNvPr>
          <p:cNvSpPr/>
          <p:nvPr/>
        </p:nvSpPr>
        <p:spPr bwMode="auto">
          <a:xfrm>
            <a:off x="2481943" y="501632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EABF0008-F46E-4A99-BFD3-1E5EBAE637C5}"/>
              </a:ext>
            </a:extLst>
          </p:cNvPr>
          <p:cNvCxnSpPr>
            <a:cxnSpLocks/>
            <a:endCxn id="16" idx="0"/>
          </p:cNvCxnSpPr>
          <p:nvPr/>
        </p:nvCxnSpPr>
        <p:spPr bwMode="auto">
          <a:xfrm>
            <a:off x="3131413" y="1135263"/>
            <a:ext cx="3111" cy="54991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直線單箭頭接點 26">
            <a:extLst>
              <a:ext uri="{FF2B5EF4-FFF2-40B4-BE49-F238E27FC236}">
                <a16:creationId xmlns:a16="http://schemas.microsoft.com/office/drawing/2014/main" id="{873824D7-70D7-489A-9D34-530F4239B9EB}"/>
              </a:ext>
            </a:extLst>
          </p:cNvPr>
          <p:cNvCxnSpPr>
            <a:cxnSpLocks/>
            <a:stCxn id="24" idx="3"/>
          </p:cNvCxnSpPr>
          <p:nvPr/>
        </p:nvCxnSpPr>
        <p:spPr bwMode="auto">
          <a:xfrm>
            <a:off x="3780886" y="818448"/>
            <a:ext cx="725238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1" name="流程圖: 替代程序 30">
            <a:extLst>
              <a:ext uri="{FF2B5EF4-FFF2-40B4-BE49-F238E27FC236}">
                <a16:creationId xmlns:a16="http://schemas.microsoft.com/office/drawing/2014/main" id="{CC8F9E14-59EA-4896-BC6D-596EF2F6BC02}"/>
              </a:ext>
            </a:extLst>
          </p:cNvPr>
          <p:cNvSpPr/>
          <p:nvPr/>
        </p:nvSpPr>
        <p:spPr bwMode="auto">
          <a:xfrm>
            <a:off x="4506124" y="501631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2" name="直線單箭頭接點 31">
            <a:extLst>
              <a:ext uri="{FF2B5EF4-FFF2-40B4-BE49-F238E27FC236}">
                <a16:creationId xmlns:a16="http://schemas.microsoft.com/office/drawing/2014/main" id="{F06B824A-057B-4684-BF8F-E61F4640DCD1}"/>
              </a:ext>
            </a:extLst>
          </p:cNvPr>
          <p:cNvCxnSpPr>
            <a:cxnSpLocks/>
            <a:endCxn id="35" idx="1"/>
          </p:cNvCxnSpPr>
          <p:nvPr/>
        </p:nvCxnSpPr>
        <p:spPr bwMode="auto">
          <a:xfrm>
            <a:off x="5811720" y="837793"/>
            <a:ext cx="718585" cy="1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5" name="流程圖: 替代程序 34">
            <a:extLst>
              <a:ext uri="{FF2B5EF4-FFF2-40B4-BE49-F238E27FC236}">
                <a16:creationId xmlns:a16="http://schemas.microsoft.com/office/drawing/2014/main" id="{8D75E93A-2634-42BA-9817-F219034ED323}"/>
              </a:ext>
            </a:extLst>
          </p:cNvPr>
          <p:cNvSpPr/>
          <p:nvPr/>
        </p:nvSpPr>
        <p:spPr bwMode="auto">
          <a:xfrm>
            <a:off x="6530305" y="520978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7" name="流程圖: 替代程序 36">
            <a:extLst>
              <a:ext uri="{FF2B5EF4-FFF2-40B4-BE49-F238E27FC236}">
                <a16:creationId xmlns:a16="http://schemas.microsoft.com/office/drawing/2014/main" id="{C339F1BB-1459-4F00-BFB8-B7134841FA20}"/>
              </a:ext>
            </a:extLst>
          </p:cNvPr>
          <p:cNvSpPr/>
          <p:nvPr/>
        </p:nvSpPr>
        <p:spPr bwMode="auto">
          <a:xfrm>
            <a:off x="4506124" y="1816887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8" name="流程圖: 替代程序 37">
            <a:extLst>
              <a:ext uri="{FF2B5EF4-FFF2-40B4-BE49-F238E27FC236}">
                <a16:creationId xmlns:a16="http://schemas.microsoft.com/office/drawing/2014/main" id="{5ED77C19-830F-4725-B1BB-9F81467C61BC}"/>
              </a:ext>
            </a:extLst>
          </p:cNvPr>
          <p:cNvSpPr/>
          <p:nvPr/>
        </p:nvSpPr>
        <p:spPr bwMode="auto">
          <a:xfrm>
            <a:off x="6522531" y="1816886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id="{D09A2765-7DE0-4D76-9FF8-18AA798E2D01}"/>
              </a:ext>
            </a:extLst>
          </p:cNvPr>
          <p:cNvCxnSpPr>
            <a:cxnSpLocks/>
            <a:stCxn id="31" idx="2"/>
          </p:cNvCxnSpPr>
          <p:nvPr/>
        </p:nvCxnSpPr>
        <p:spPr bwMode="auto">
          <a:xfrm>
            <a:off x="5155596" y="1135262"/>
            <a:ext cx="0" cy="671997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2" name="直線單箭頭接點 41">
            <a:extLst>
              <a:ext uri="{FF2B5EF4-FFF2-40B4-BE49-F238E27FC236}">
                <a16:creationId xmlns:a16="http://schemas.microsoft.com/office/drawing/2014/main" id="{D5E547F5-1E92-4ED5-8BE3-6B887F170C6B}"/>
              </a:ext>
            </a:extLst>
          </p:cNvPr>
          <p:cNvCxnSpPr>
            <a:cxnSpLocks/>
          </p:cNvCxnSpPr>
          <p:nvPr/>
        </p:nvCxnSpPr>
        <p:spPr bwMode="auto">
          <a:xfrm>
            <a:off x="7169323" y="1135262"/>
            <a:ext cx="0" cy="671997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449899020"/>
      </p:ext>
    </p:extLst>
  </p:cSld>
  <p:clrMapOvr>
    <a:masterClrMapping/>
  </p:clrMapOvr>
  <p:transition spd="slow">
    <p:zoom dir="in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C1E00FE-FD27-4B4A-847D-C2539C3D91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9</a:t>
            </a:fld>
            <a:endParaRPr lang="en-US" altLang="zh-TW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4D1BB854-E05D-46D4-AE52-B409E4370D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425861"/>
            <a:ext cx="8070114" cy="1913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204748"/>
      </p:ext>
    </p:extLst>
  </p:cSld>
  <p:clrMapOvr>
    <a:masterClrMapping/>
  </p:clrMapOvr>
  <p:transition spd="slow">
    <p:zoom dir="in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課程說明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</a:t>
            </a:fld>
            <a:endParaRPr lang="en-US" altLang="zh-TW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筆跡 1">
                <a:extLst>
                  <a:ext uri="{FF2B5EF4-FFF2-40B4-BE49-F238E27FC236}">
                    <a16:creationId xmlns:a16="http://schemas.microsoft.com/office/drawing/2014/main" id="{C03FC64D-5AD1-475D-B0A8-E7AC9185288B}"/>
                  </a:ext>
                </a:extLst>
              </p14:cNvPr>
              <p14:cNvContentPartPr/>
              <p14:nvPr/>
            </p14:nvContentPartPr>
            <p14:xfrm>
              <a:off x="244260" y="3803672"/>
              <a:ext cx="8655480" cy="1968840"/>
            </p14:xfrm>
          </p:contentPart>
        </mc:Choice>
        <mc:Fallback xmlns="">
          <p:pic>
            <p:nvPicPr>
              <p:cNvPr id="2" name="筆跡 1">
                <a:extLst>
                  <a:ext uri="{FF2B5EF4-FFF2-40B4-BE49-F238E27FC236}">
                    <a16:creationId xmlns:a16="http://schemas.microsoft.com/office/drawing/2014/main" id="{C03FC64D-5AD1-475D-B0A8-E7AC9185288B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4900" y="3794312"/>
                <a:ext cx="8674200" cy="198756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橢圓 4">
            <a:extLst>
              <a:ext uri="{FF2B5EF4-FFF2-40B4-BE49-F238E27FC236}">
                <a16:creationId xmlns:a16="http://schemas.microsoft.com/office/drawing/2014/main" id="{C33260E9-C535-4EFF-BD68-1630549E8AC7}"/>
              </a:ext>
            </a:extLst>
          </p:cNvPr>
          <p:cNvSpPr/>
          <p:nvPr/>
        </p:nvSpPr>
        <p:spPr bwMode="auto">
          <a:xfrm>
            <a:off x="3314700" y="2508272"/>
            <a:ext cx="2514600" cy="12954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TW" alt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我會</a:t>
            </a:r>
            <a:r>
              <a:rPr kumimoji="0" lang="en-US" altLang="zh-TW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</a:t>
            </a:r>
            <a:endParaRPr kumimoji="0" lang="zh-TW" alt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橢圓 7">
            <a:extLst>
              <a:ext uri="{FF2B5EF4-FFF2-40B4-BE49-F238E27FC236}">
                <a16:creationId xmlns:a16="http://schemas.microsoft.com/office/drawing/2014/main" id="{1C945671-E859-49DD-9077-A5C5E7A66A9E}"/>
              </a:ext>
            </a:extLst>
          </p:cNvPr>
          <p:cNvSpPr/>
          <p:nvPr/>
        </p:nvSpPr>
        <p:spPr bwMode="auto">
          <a:xfrm>
            <a:off x="911290" y="2919434"/>
            <a:ext cx="1371600" cy="6477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不會</a:t>
            </a: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..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0" name="直線接點 9">
            <a:extLst>
              <a:ext uri="{FF2B5EF4-FFF2-40B4-BE49-F238E27FC236}">
                <a16:creationId xmlns:a16="http://schemas.microsoft.com/office/drawing/2014/main" id="{5C92C1D7-45FC-499C-85AC-B66CFE572E28}"/>
              </a:ext>
            </a:extLst>
          </p:cNvPr>
          <p:cNvCxnSpPr/>
          <p:nvPr/>
        </p:nvCxnSpPr>
        <p:spPr bwMode="auto">
          <a:xfrm flipV="1">
            <a:off x="2971800" y="3567134"/>
            <a:ext cx="533400" cy="388938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直線接點 10">
            <a:extLst>
              <a:ext uri="{FF2B5EF4-FFF2-40B4-BE49-F238E27FC236}">
                <a16:creationId xmlns:a16="http://schemas.microsoft.com/office/drawing/2014/main" id="{BE30C7E4-30FE-41DE-AA12-B4ED15235364}"/>
              </a:ext>
            </a:extLst>
          </p:cNvPr>
          <p:cNvCxnSpPr>
            <a:cxnSpLocks/>
          </p:cNvCxnSpPr>
          <p:nvPr/>
        </p:nvCxnSpPr>
        <p:spPr bwMode="auto">
          <a:xfrm>
            <a:off x="5516670" y="3756473"/>
            <a:ext cx="388830" cy="530536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直線接點 13">
            <a:extLst>
              <a:ext uri="{FF2B5EF4-FFF2-40B4-BE49-F238E27FC236}">
                <a16:creationId xmlns:a16="http://schemas.microsoft.com/office/drawing/2014/main" id="{D16E3DEC-C783-4B20-A0E6-C45D9FBDD5B3}"/>
              </a:ext>
            </a:extLst>
          </p:cNvPr>
          <p:cNvCxnSpPr>
            <a:cxnSpLocks/>
          </p:cNvCxnSpPr>
          <p:nvPr/>
        </p:nvCxnSpPr>
        <p:spPr bwMode="auto">
          <a:xfrm flipH="1">
            <a:off x="902980" y="3591511"/>
            <a:ext cx="221171" cy="187784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9668147"/>
      </p:ext>
    </p:extLst>
  </p:cSld>
  <p:clrMapOvr>
    <a:masterClrMapping/>
  </p:clrMapOvr>
  <p:transition spd="slow">
    <p:zoom dir="in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四大</a:t>
            </a:r>
            <a:r>
              <a:rPr lang="zh-TW" altLang="en-US" dirty="0">
                <a:solidFill>
                  <a:srgbClr val="FF0000"/>
                </a:solidFill>
              </a:rPr>
              <a:t>指標</a:t>
            </a:r>
            <a:r>
              <a:rPr lang="zh-TW" altLang="en-US" dirty="0"/>
              <a:t>物件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0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03B3D97F-2109-4443-97BD-181FF27D9D7C}"/>
              </a:ext>
            </a:extLst>
          </p:cNvPr>
          <p:cNvSpPr/>
          <p:nvPr/>
        </p:nvSpPr>
        <p:spPr bwMode="auto">
          <a:xfrm>
            <a:off x="5257800" y="4236098"/>
            <a:ext cx="3124200" cy="152400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ranch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743564BA-A2E5-4987-AA36-0A5F4159022E}"/>
              </a:ext>
            </a:extLst>
          </p:cNvPr>
          <p:cNvSpPr/>
          <p:nvPr/>
        </p:nvSpPr>
        <p:spPr bwMode="auto">
          <a:xfrm>
            <a:off x="5257800" y="1721498"/>
            <a:ext cx="3124200" cy="1524000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5" name="流程圖: 替代程序 24">
            <a:extLst>
              <a:ext uri="{FF2B5EF4-FFF2-40B4-BE49-F238E27FC236}">
                <a16:creationId xmlns:a16="http://schemas.microsoft.com/office/drawing/2014/main" id="{158973E8-9B6E-4ABD-A954-4F854693D1A7}"/>
              </a:ext>
            </a:extLst>
          </p:cNvPr>
          <p:cNvSpPr/>
          <p:nvPr/>
        </p:nvSpPr>
        <p:spPr bwMode="auto">
          <a:xfrm>
            <a:off x="823452" y="4236098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5094A704-782D-483D-A75B-D2937FB6A353}"/>
              </a:ext>
            </a:extLst>
          </p:cNvPr>
          <p:cNvSpPr/>
          <p:nvPr/>
        </p:nvSpPr>
        <p:spPr bwMode="auto">
          <a:xfrm>
            <a:off x="727587" y="1672763"/>
            <a:ext cx="3124200" cy="1524000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ag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126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7B5133E8-DB12-4186-A73D-F1E9FFBE6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7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911CBDA1-70C0-448F-A7EB-04FE2F168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015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FEBF41C5-0617-4425-9787-6002F0344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299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A40BBBCD-002D-4C51-BC61-DC3614C4F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845714"/>
      </p:ext>
    </p:extLst>
  </p:cSld>
  <p:clrMapOvr>
    <a:masterClrMapping/>
  </p:clrMapOvr>
  <p:transition spd="slow">
    <p:zoom dir="in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--Tag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1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6F33C5F8-F3CF-4C87-851C-ADD325002EB3}"/>
              </a:ext>
            </a:extLst>
          </p:cNvPr>
          <p:cNvSpPr/>
          <p:nvPr/>
        </p:nvSpPr>
        <p:spPr bwMode="auto">
          <a:xfrm>
            <a:off x="5334000" y="-27671"/>
            <a:ext cx="3124200" cy="1524000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ag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7" name="內容版面配置區 1">
            <a:extLst>
              <a:ext uri="{FF2B5EF4-FFF2-40B4-BE49-F238E27FC236}">
                <a16:creationId xmlns:a16="http://schemas.microsoft.com/office/drawing/2014/main" id="{08DCC49E-52A3-4085-945A-BBA2D38FBF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/>
          </a:p>
          <a:p>
            <a:r>
              <a:rPr lang="zh-TW" altLang="en-US" sz="2800" dirty="0"/>
              <a:t>分</a:t>
            </a:r>
            <a:r>
              <a:rPr lang="en-US" altLang="zh-TW" sz="2800" dirty="0"/>
              <a:t>lightweight tag </a:t>
            </a:r>
            <a:r>
              <a:rPr lang="zh-TW" altLang="en-US" sz="2800" dirty="0"/>
              <a:t>與</a:t>
            </a:r>
            <a:r>
              <a:rPr lang="en-US" altLang="zh-TW" sz="2800" dirty="0"/>
              <a:t>annotated tag</a:t>
            </a:r>
          </a:p>
          <a:p>
            <a:endParaRPr lang="en-US" altLang="zh-TW" sz="2800" dirty="0"/>
          </a:p>
          <a:p>
            <a:r>
              <a:rPr lang="zh-TW" altLang="en-US" sz="2800" dirty="0"/>
              <a:t>綁定某個</a:t>
            </a:r>
            <a:r>
              <a:rPr lang="en-US" altLang="zh-TW" sz="2800" dirty="0"/>
              <a:t>Commit</a:t>
            </a:r>
          </a:p>
          <a:p>
            <a:endParaRPr lang="en-US" altLang="zh-TW" sz="2800" dirty="0"/>
          </a:p>
          <a:p>
            <a:r>
              <a:rPr lang="zh-TW" altLang="en-US" sz="2800" dirty="0"/>
              <a:t>存放在 </a:t>
            </a:r>
            <a:r>
              <a:rPr lang="en-US" altLang="zh-TW" dirty="0"/>
              <a:t>.git/refs</a:t>
            </a:r>
            <a:r>
              <a:rPr lang="zh-TW" altLang="en-US" dirty="0"/>
              <a:t>下面</a:t>
            </a:r>
            <a:endParaRPr lang="zh-TW" altLang="en-US" sz="2800" dirty="0"/>
          </a:p>
          <a:p>
            <a:endParaRPr lang="en-US" altLang="zh-TW" sz="2800" dirty="0"/>
          </a:p>
          <a:p>
            <a:endParaRPr lang="zh-TW" altLang="en-US" sz="2800" dirty="0"/>
          </a:p>
        </p:txBody>
      </p:sp>
      <p:pic>
        <p:nvPicPr>
          <p:cNvPr id="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8F98DBEB-A711-4B36-84B7-8FCBDCE89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9828197"/>
      </p:ext>
    </p:extLst>
  </p:cSld>
  <p:clrMapOvr>
    <a:masterClrMapping/>
  </p:clrMapOvr>
  <p:transition spd="slow">
    <p:zoom dir="in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2E946D5-D1AC-4688-8547-94F01DEFD6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2</a:t>
            </a:fld>
            <a:endParaRPr lang="en-US" altLang="zh-TW" dirty="0"/>
          </a:p>
        </p:txBody>
      </p:sp>
      <p:sp>
        <p:nvSpPr>
          <p:cNvPr id="5" name="流程圖: 替代程序 4">
            <a:extLst>
              <a:ext uri="{FF2B5EF4-FFF2-40B4-BE49-F238E27FC236}">
                <a16:creationId xmlns:a16="http://schemas.microsoft.com/office/drawing/2014/main" id="{D607A6F5-DAB4-4418-B58F-7882FA8A964C}"/>
              </a:ext>
            </a:extLst>
          </p:cNvPr>
          <p:cNvSpPr/>
          <p:nvPr/>
        </p:nvSpPr>
        <p:spPr bwMode="auto">
          <a:xfrm>
            <a:off x="2485053" y="3047888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9EDAF49E-AD14-4660-8B1E-96DDFE492029}"/>
              </a:ext>
            </a:extLst>
          </p:cNvPr>
          <p:cNvSpPr/>
          <p:nvPr/>
        </p:nvSpPr>
        <p:spPr bwMode="auto">
          <a:xfrm>
            <a:off x="533400" y="4516201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65FD7557-7A54-4568-AD38-D3411A12446E}"/>
              </a:ext>
            </a:extLst>
          </p:cNvPr>
          <p:cNvSpPr/>
          <p:nvPr/>
        </p:nvSpPr>
        <p:spPr bwMode="auto">
          <a:xfrm>
            <a:off x="2514600" y="4516201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A8F8D5A2-4500-46F5-A716-A8CA6027A9DC}"/>
              </a:ext>
            </a:extLst>
          </p:cNvPr>
          <p:cNvSpPr/>
          <p:nvPr/>
        </p:nvSpPr>
        <p:spPr bwMode="auto">
          <a:xfrm>
            <a:off x="4800600" y="4516201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流程圖: 替代程序 8">
            <a:extLst>
              <a:ext uri="{FF2B5EF4-FFF2-40B4-BE49-F238E27FC236}">
                <a16:creationId xmlns:a16="http://schemas.microsoft.com/office/drawing/2014/main" id="{3B5910CD-F64A-4A80-9F59-DDD25ADA2AE6}"/>
              </a:ext>
            </a:extLst>
          </p:cNvPr>
          <p:cNvSpPr/>
          <p:nvPr/>
        </p:nvSpPr>
        <p:spPr bwMode="auto">
          <a:xfrm>
            <a:off x="4800600" y="5878322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1" name="直線單箭頭接點 10">
            <a:extLst>
              <a:ext uri="{FF2B5EF4-FFF2-40B4-BE49-F238E27FC236}">
                <a16:creationId xmlns:a16="http://schemas.microsoft.com/office/drawing/2014/main" id="{E00A15AD-B6D3-4A47-B1C7-012BB7365FF7}"/>
              </a:ext>
            </a:extLst>
          </p:cNvPr>
          <p:cNvCxnSpPr>
            <a:cxnSpLocks/>
            <a:endCxn id="6" idx="0"/>
          </p:cNvCxnSpPr>
          <p:nvPr/>
        </p:nvCxnSpPr>
        <p:spPr bwMode="auto">
          <a:xfrm flipH="1">
            <a:off x="1182872" y="3705143"/>
            <a:ext cx="1986401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1F0CDBFD-CA37-4A81-9403-2B261D99910D}"/>
              </a:ext>
            </a:extLst>
          </p:cNvPr>
          <p:cNvCxnSpPr>
            <a:cxnSpLocks/>
            <a:endCxn id="7" idx="0"/>
          </p:cNvCxnSpPr>
          <p:nvPr/>
        </p:nvCxnSpPr>
        <p:spPr bwMode="auto">
          <a:xfrm flipH="1">
            <a:off x="3164072" y="3705143"/>
            <a:ext cx="5201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45AD86DA-92C8-4D9F-989A-953A63E53E2F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>
            <a:off x="3169272" y="3705143"/>
            <a:ext cx="2280800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id="{B0B41795-C560-430A-B984-9BDD04D766E0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 bwMode="auto">
          <a:xfrm>
            <a:off x="5450072" y="5149832"/>
            <a:ext cx="0" cy="72849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FB57F32D-6352-44AA-9BF7-920F1CCF6202}"/>
              </a:ext>
            </a:extLst>
          </p:cNvPr>
          <p:cNvSpPr/>
          <p:nvPr/>
        </p:nvSpPr>
        <p:spPr bwMode="auto">
          <a:xfrm>
            <a:off x="2485052" y="1685175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85550DB-AD58-4269-AB2D-40AB0E39D87E}"/>
              </a:ext>
            </a:extLst>
          </p:cNvPr>
          <p:cNvCxnSpPr>
            <a:cxnSpLocks/>
            <a:stCxn id="16" idx="2"/>
            <a:endCxn id="5" idx="0"/>
          </p:cNvCxnSpPr>
          <p:nvPr/>
        </p:nvCxnSpPr>
        <p:spPr bwMode="auto">
          <a:xfrm>
            <a:off x="3134524" y="2318806"/>
            <a:ext cx="1" cy="72908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D7FEE987-1DB6-44F2-9216-F31A03A42995}"/>
              </a:ext>
            </a:extLst>
          </p:cNvPr>
          <p:cNvSpPr/>
          <p:nvPr/>
        </p:nvSpPr>
        <p:spPr bwMode="auto">
          <a:xfrm>
            <a:off x="2481943" y="501632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EABF0008-F46E-4A99-BFD3-1E5EBAE637C5}"/>
              </a:ext>
            </a:extLst>
          </p:cNvPr>
          <p:cNvCxnSpPr>
            <a:cxnSpLocks/>
            <a:endCxn id="16" idx="0"/>
          </p:cNvCxnSpPr>
          <p:nvPr/>
        </p:nvCxnSpPr>
        <p:spPr bwMode="auto">
          <a:xfrm>
            <a:off x="3131413" y="1135263"/>
            <a:ext cx="3111" cy="54991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直線單箭頭接點 26">
            <a:extLst>
              <a:ext uri="{FF2B5EF4-FFF2-40B4-BE49-F238E27FC236}">
                <a16:creationId xmlns:a16="http://schemas.microsoft.com/office/drawing/2014/main" id="{873824D7-70D7-489A-9D34-530F4239B9EB}"/>
              </a:ext>
            </a:extLst>
          </p:cNvPr>
          <p:cNvCxnSpPr>
            <a:cxnSpLocks/>
            <a:stCxn id="24" idx="3"/>
          </p:cNvCxnSpPr>
          <p:nvPr/>
        </p:nvCxnSpPr>
        <p:spPr bwMode="auto">
          <a:xfrm>
            <a:off x="3780886" y="818448"/>
            <a:ext cx="725238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1" name="流程圖: 替代程序 30">
            <a:extLst>
              <a:ext uri="{FF2B5EF4-FFF2-40B4-BE49-F238E27FC236}">
                <a16:creationId xmlns:a16="http://schemas.microsoft.com/office/drawing/2014/main" id="{CC8F9E14-59EA-4896-BC6D-596EF2F6BC02}"/>
              </a:ext>
            </a:extLst>
          </p:cNvPr>
          <p:cNvSpPr/>
          <p:nvPr/>
        </p:nvSpPr>
        <p:spPr bwMode="auto">
          <a:xfrm>
            <a:off x="4506124" y="501631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2" name="直線單箭頭接點 31">
            <a:extLst>
              <a:ext uri="{FF2B5EF4-FFF2-40B4-BE49-F238E27FC236}">
                <a16:creationId xmlns:a16="http://schemas.microsoft.com/office/drawing/2014/main" id="{F06B824A-057B-4684-BF8F-E61F4640DCD1}"/>
              </a:ext>
            </a:extLst>
          </p:cNvPr>
          <p:cNvCxnSpPr>
            <a:cxnSpLocks/>
            <a:endCxn id="35" idx="1"/>
          </p:cNvCxnSpPr>
          <p:nvPr/>
        </p:nvCxnSpPr>
        <p:spPr bwMode="auto">
          <a:xfrm>
            <a:off x="5811720" y="837793"/>
            <a:ext cx="718585" cy="1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5" name="流程圖: 替代程序 34">
            <a:extLst>
              <a:ext uri="{FF2B5EF4-FFF2-40B4-BE49-F238E27FC236}">
                <a16:creationId xmlns:a16="http://schemas.microsoft.com/office/drawing/2014/main" id="{8D75E93A-2634-42BA-9817-F219034ED323}"/>
              </a:ext>
            </a:extLst>
          </p:cNvPr>
          <p:cNvSpPr/>
          <p:nvPr/>
        </p:nvSpPr>
        <p:spPr bwMode="auto">
          <a:xfrm>
            <a:off x="6530305" y="520978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7" name="流程圖: 替代程序 36">
            <a:extLst>
              <a:ext uri="{FF2B5EF4-FFF2-40B4-BE49-F238E27FC236}">
                <a16:creationId xmlns:a16="http://schemas.microsoft.com/office/drawing/2014/main" id="{C339F1BB-1459-4F00-BFB8-B7134841FA20}"/>
              </a:ext>
            </a:extLst>
          </p:cNvPr>
          <p:cNvSpPr/>
          <p:nvPr/>
        </p:nvSpPr>
        <p:spPr bwMode="auto">
          <a:xfrm>
            <a:off x="4506124" y="1816887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8" name="流程圖: 替代程序 37">
            <a:extLst>
              <a:ext uri="{FF2B5EF4-FFF2-40B4-BE49-F238E27FC236}">
                <a16:creationId xmlns:a16="http://schemas.microsoft.com/office/drawing/2014/main" id="{5ED77C19-830F-4725-B1BB-9F81467C61BC}"/>
              </a:ext>
            </a:extLst>
          </p:cNvPr>
          <p:cNvSpPr/>
          <p:nvPr/>
        </p:nvSpPr>
        <p:spPr bwMode="auto">
          <a:xfrm>
            <a:off x="6522531" y="1816886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id="{D09A2765-7DE0-4D76-9FF8-18AA798E2D01}"/>
              </a:ext>
            </a:extLst>
          </p:cNvPr>
          <p:cNvCxnSpPr>
            <a:cxnSpLocks/>
            <a:stCxn id="31" idx="2"/>
          </p:cNvCxnSpPr>
          <p:nvPr/>
        </p:nvCxnSpPr>
        <p:spPr bwMode="auto">
          <a:xfrm>
            <a:off x="5155596" y="1135262"/>
            <a:ext cx="0" cy="671997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2" name="直線單箭頭接點 41">
            <a:extLst>
              <a:ext uri="{FF2B5EF4-FFF2-40B4-BE49-F238E27FC236}">
                <a16:creationId xmlns:a16="http://schemas.microsoft.com/office/drawing/2014/main" id="{D5E547F5-1E92-4ED5-8BE3-6B887F170C6B}"/>
              </a:ext>
            </a:extLst>
          </p:cNvPr>
          <p:cNvCxnSpPr>
            <a:cxnSpLocks/>
          </p:cNvCxnSpPr>
          <p:nvPr/>
        </p:nvCxnSpPr>
        <p:spPr bwMode="auto">
          <a:xfrm>
            <a:off x="7169323" y="1135262"/>
            <a:ext cx="0" cy="671997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流程圖: 替代程序 25">
            <a:extLst>
              <a:ext uri="{FF2B5EF4-FFF2-40B4-BE49-F238E27FC236}">
                <a16:creationId xmlns:a16="http://schemas.microsoft.com/office/drawing/2014/main" id="{F7A14096-E029-4FC7-AEE2-86C39089A112}"/>
              </a:ext>
            </a:extLst>
          </p:cNvPr>
          <p:cNvSpPr/>
          <p:nvPr/>
        </p:nvSpPr>
        <p:spPr bwMode="auto">
          <a:xfrm>
            <a:off x="378018" y="1685175"/>
            <a:ext cx="1384127" cy="675184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V1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8" name="直線單箭頭接點 27">
            <a:extLst>
              <a:ext uri="{FF2B5EF4-FFF2-40B4-BE49-F238E27FC236}">
                <a16:creationId xmlns:a16="http://schemas.microsoft.com/office/drawing/2014/main" id="{30BD78AF-2FAB-4890-9558-2A51B0B10B26}"/>
              </a:ext>
            </a:extLst>
          </p:cNvPr>
          <p:cNvCxnSpPr>
            <a:cxnSpLocks/>
          </p:cNvCxnSpPr>
          <p:nvPr/>
        </p:nvCxnSpPr>
        <p:spPr bwMode="auto">
          <a:xfrm>
            <a:off x="1756705" y="2001990"/>
            <a:ext cx="725238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9F3B3768-A630-4BF6-AB21-8905CD809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7" y="1672763"/>
            <a:ext cx="329223" cy="32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702226"/>
      </p:ext>
    </p:extLst>
  </p:cSld>
  <p:clrMapOvr>
    <a:masterClrMapping/>
  </p:clrMapOvr>
  <p:transition spd="slow">
    <p:zoom dir="in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BEAD58D-0C3D-4234-BC2F-C1BFD06C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ag Sample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5194FB6D-993F-4E97-8259-CA4E2E7EA1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3</a:t>
            </a:fld>
            <a:endParaRPr lang="en-US" altLang="zh-TW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2516C9BF-9811-47AD-9633-248933B3E411}"/>
              </a:ext>
            </a:extLst>
          </p:cNvPr>
          <p:cNvSpPr/>
          <p:nvPr/>
        </p:nvSpPr>
        <p:spPr bwMode="auto">
          <a:xfrm>
            <a:off x="1333500" y="1711257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tag v1 {commit}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70AF755-17E9-401C-B380-47C1ED9D22BA}"/>
              </a:ext>
            </a:extLst>
          </p:cNvPr>
          <p:cNvSpPr/>
          <p:nvPr/>
        </p:nvSpPr>
        <p:spPr bwMode="auto">
          <a:xfrm>
            <a:off x="1333500" y="34290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tag -l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0D4FE02-7A96-4AD6-AD1D-6390FE5B36E1}"/>
              </a:ext>
            </a:extLst>
          </p:cNvPr>
          <p:cNvSpPr/>
          <p:nvPr/>
        </p:nvSpPr>
        <p:spPr bwMode="auto">
          <a:xfrm>
            <a:off x="1333500" y="4395349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tag -d v1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D15C91C-C51A-4399-8B27-4CF1B4FB002D}"/>
              </a:ext>
            </a:extLst>
          </p:cNvPr>
          <p:cNvSpPr/>
          <p:nvPr/>
        </p:nvSpPr>
        <p:spPr bwMode="auto">
          <a:xfrm>
            <a:off x="1333500" y="2548005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tag v1 –a –m "More information"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E3529CC-5C82-4933-8F61-190D9C1CD23D}"/>
              </a:ext>
            </a:extLst>
          </p:cNvPr>
          <p:cNvSpPr/>
          <p:nvPr/>
        </p:nvSpPr>
        <p:spPr bwMode="auto">
          <a:xfrm>
            <a:off x="1333500" y="536169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push origin --tags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0" name="Picture 2" descr="ãcmd iconãçåçæå°çµæ">
            <a:extLst>
              <a:ext uri="{FF2B5EF4-FFF2-40B4-BE49-F238E27FC236}">
                <a16:creationId xmlns:a16="http://schemas.microsoft.com/office/drawing/2014/main" id="{27E8F1FF-CF55-4B25-B3A9-0FA6CBD75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808672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標題 2">
            <a:extLst>
              <a:ext uri="{FF2B5EF4-FFF2-40B4-BE49-F238E27FC236}">
                <a16:creationId xmlns:a16="http://schemas.microsoft.com/office/drawing/2014/main" id="{80FCB0AD-6CBD-4F34-965A-767DCCFC4A31}"/>
              </a:ext>
            </a:extLst>
          </p:cNvPr>
          <p:cNvSpPr txBox="1">
            <a:spLocks/>
          </p:cNvSpPr>
          <p:nvPr/>
        </p:nvSpPr>
        <p:spPr bwMode="auto">
          <a:xfrm>
            <a:off x="5537127" y="870227"/>
            <a:ext cx="314967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2800" kern="0" dirty="0">
                <a:solidFill>
                  <a:srgbClr val="0070C0"/>
                </a:solidFill>
              </a:rPr>
              <a:t>tag</a:t>
            </a:r>
            <a:r>
              <a:rPr lang="en-US" altLang="zh-TW" sz="2800" kern="0" dirty="0"/>
              <a:t>           </a:t>
            </a:r>
            <a:r>
              <a:rPr lang="zh-TW" altLang="en-US" sz="2800" kern="0" dirty="0"/>
              <a:t>標籤</a:t>
            </a:r>
          </a:p>
        </p:txBody>
      </p:sp>
    </p:spTree>
    <p:extLst>
      <p:ext uri="{BB962C8B-B14F-4D97-AF65-F5344CB8AC3E}">
        <p14:creationId xmlns:p14="http://schemas.microsoft.com/office/powerpoint/2010/main" val="3801754953"/>
      </p:ext>
    </p:extLst>
  </p:cSld>
  <p:clrMapOvr>
    <a:masterClrMapping/>
  </p:clrMapOvr>
  <p:transition spd="slow">
    <p:zoom dir="in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--HEAD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4</a:t>
            </a:fld>
            <a:endParaRPr lang="en-US" altLang="zh-TW" dirty="0"/>
          </a:p>
        </p:txBody>
      </p:sp>
      <p:sp>
        <p:nvSpPr>
          <p:cNvPr id="27" name="內容版面配置區 1">
            <a:extLst>
              <a:ext uri="{FF2B5EF4-FFF2-40B4-BE49-F238E27FC236}">
                <a16:creationId xmlns:a16="http://schemas.microsoft.com/office/drawing/2014/main" id="{08DCC49E-52A3-4085-945A-BBA2D38FBF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/>
          </a:p>
          <a:p>
            <a:r>
              <a:rPr lang="zh-TW" altLang="en-US" sz="2800" dirty="0"/>
              <a:t>指向某一個工作的</a:t>
            </a:r>
            <a:r>
              <a:rPr lang="en-US" altLang="zh-TW" sz="2800" dirty="0"/>
              <a:t>branch (</a:t>
            </a:r>
            <a:r>
              <a:rPr lang="zh-TW" altLang="en-US" sz="2800" dirty="0"/>
              <a:t>分支</a:t>
            </a:r>
            <a:r>
              <a:rPr lang="en-US" altLang="zh-TW" sz="2800" dirty="0"/>
              <a:t>)</a:t>
            </a:r>
          </a:p>
          <a:p>
            <a:endParaRPr lang="en-US" altLang="zh-TW" sz="2800" dirty="0"/>
          </a:p>
          <a:p>
            <a:r>
              <a:rPr lang="zh-TW" altLang="en-US" sz="2800" dirty="0"/>
              <a:t>存在</a:t>
            </a:r>
            <a:r>
              <a:rPr lang="en-US" altLang="zh-TW" dirty="0"/>
              <a:t>.git/HEAD</a:t>
            </a:r>
          </a:p>
          <a:p>
            <a:endParaRPr lang="en-US" altLang="zh-TW" sz="2800" dirty="0"/>
          </a:p>
          <a:p>
            <a:pPr marL="0" indent="0">
              <a:buNone/>
            </a:pPr>
            <a:endParaRPr lang="zh-TW" altLang="en-US" sz="2800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A51D1D45-ABB4-4CCE-89C9-CB02CF150CF5}"/>
              </a:ext>
            </a:extLst>
          </p:cNvPr>
          <p:cNvSpPr/>
          <p:nvPr/>
        </p:nvSpPr>
        <p:spPr bwMode="auto">
          <a:xfrm>
            <a:off x="5334000" y="-13649"/>
            <a:ext cx="3124200" cy="1524000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068D332D-F734-4C73-84AF-868338170B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5879" y="4038600"/>
            <a:ext cx="5193242" cy="1709970"/>
          </a:xfrm>
          <a:prstGeom prst="rect">
            <a:avLst/>
          </a:prstGeom>
        </p:spPr>
      </p:pic>
      <p:pic>
        <p:nvPicPr>
          <p:cNvPr id="10244" name="Picture 4" descr="ãä¸æãçåçæå°çµæ">
            <a:extLst>
              <a:ext uri="{FF2B5EF4-FFF2-40B4-BE49-F238E27FC236}">
                <a16:creationId xmlns:a16="http://schemas.microsoft.com/office/drawing/2014/main" id="{46C3D9B0-1F7F-410F-B4A6-7C738119B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3892" y="1840650"/>
            <a:ext cx="1530458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BBB6866E-33D7-4DDB-B5CC-20A6E306A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302" y="-46036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0114371"/>
      </p:ext>
    </p:extLst>
  </p:cSld>
  <p:clrMapOvr>
    <a:masterClrMapping/>
  </p:clrMapOvr>
  <p:transition spd="slow">
    <p:zoom dir="in"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5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5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0AB376F9-ECB1-43F6-9C2D-E3CA7515BD8C}"/>
              </a:ext>
            </a:extLst>
          </p:cNvPr>
          <p:cNvSpPr/>
          <p:nvPr/>
        </p:nvSpPr>
        <p:spPr bwMode="auto">
          <a:xfrm>
            <a:off x="2485053" y="3047888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B501F89F-A5D0-4065-BFE8-13809269863F}"/>
              </a:ext>
            </a:extLst>
          </p:cNvPr>
          <p:cNvSpPr/>
          <p:nvPr/>
        </p:nvSpPr>
        <p:spPr bwMode="auto">
          <a:xfrm>
            <a:off x="533400" y="4516201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F32F4852-0032-43D5-AAFA-0A32590F8FA0}"/>
              </a:ext>
            </a:extLst>
          </p:cNvPr>
          <p:cNvSpPr/>
          <p:nvPr/>
        </p:nvSpPr>
        <p:spPr bwMode="auto">
          <a:xfrm>
            <a:off x="2514600" y="4516201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流程圖: 替代程序 8">
            <a:extLst>
              <a:ext uri="{FF2B5EF4-FFF2-40B4-BE49-F238E27FC236}">
                <a16:creationId xmlns:a16="http://schemas.microsoft.com/office/drawing/2014/main" id="{074E1806-821F-412F-9531-9F637A08CEB1}"/>
              </a:ext>
            </a:extLst>
          </p:cNvPr>
          <p:cNvSpPr/>
          <p:nvPr/>
        </p:nvSpPr>
        <p:spPr bwMode="auto">
          <a:xfrm>
            <a:off x="4800600" y="4516201"/>
            <a:ext cx="1298943" cy="633631"/>
          </a:xfrm>
          <a:prstGeom prst="flowChartAlternateProcess">
            <a:avLst/>
          </a:prstGeom>
          <a:solidFill>
            <a:srgbClr val="FF66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re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0" name="流程圖: 替代程序 9">
            <a:extLst>
              <a:ext uri="{FF2B5EF4-FFF2-40B4-BE49-F238E27FC236}">
                <a16:creationId xmlns:a16="http://schemas.microsoft.com/office/drawing/2014/main" id="{4E2153F0-1159-4F01-8595-34A02C51AAA8}"/>
              </a:ext>
            </a:extLst>
          </p:cNvPr>
          <p:cNvSpPr/>
          <p:nvPr/>
        </p:nvSpPr>
        <p:spPr bwMode="auto">
          <a:xfrm>
            <a:off x="4800600" y="5878322"/>
            <a:ext cx="1298943" cy="633631"/>
          </a:xfrm>
          <a:prstGeom prst="flowChartAlternateProcess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lo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1" name="直線單箭頭接點 10">
            <a:extLst>
              <a:ext uri="{FF2B5EF4-FFF2-40B4-BE49-F238E27FC236}">
                <a16:creationId xmlns:a16="http://schemas.microsoft.com/office/drawing/2014/main" id="{851DF984-0578-466E-85E4-81FCD2629A9A}"/>
              </a:ext>
            </a:extLst>
          </p:cNvPr>
          <p:cNvCxnSpPr>
            <a:cxnSpLocks/>
            <a:endCxn id="7" idx="0"/>
          </p:cNvCxnSpPr>
          <p:nvPr/>
        </p:nvCxnSpPr>
        <p:spPr bwMode="auto">
          <a:xfrm flipH="1">
            <a:off x="1182872" y="3705143"/>
            <a:ext cx="1986401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D395FE12-57A3-4D4C-B171-74F6105555E8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 flipH="1">
            <a:off x="3164072" y="3705143"/>
            <a:ext cx="5201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直線單箭頭接點 12">
            <a:extLst>
              <a:ext uri="{FF2B5EF4-FFF2-40B4-BE49-F238E27FC236}">
                <a16:creationId xmlns:a16="http://schemas.microsoft.com/office/drawing/2014/main" id="{F34FB41E-EE96-432C-BEEA-388D7C6FB617}"/>
              </a:ext>
            </a:extLst>
          </p:cNvPr>
          <p:cNvCxnSpPr>
            <a:cxnSpLocks/>
            <a:endCxn id="9" idx="0"/>
          </p:cNvCxnSpPr>
          <p:nvPr/>
        </p:nvCxnSpPr>
        <p:spPr bwMode="auto">
          <a:xfrm>
            <a:off x="3169272" y="3705143"/>
            <a:ext cx="2280800" cy="81105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直線單箭頭接點 13">
            <a:extLst>
              <a:ext uri="{FF2B5EF4-FFF2-40B4-BE49-F238E27FC236}">
                <a16:creationId xmlns:a16="http://schemas.microsoft.com/office/drawing/2014/main" id="{8C1DFB1C-BD31-48E9-A361-DB59996F1AB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 bwMode="auto">
          <a:xfrm>
            <a:off x="5450072" y="5149832"/>
            <a:ext cx="0" cy="72849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40A6CC55-3BAB-4818-A18A-21947772D91B}"/>
              </a:ext>
            </a:extLst>
          </p:cNvPr>
          <p:cNvSpPr/>
          <p:nvPr/>
        </p:nvSpPr>
        <p:spPr bwMode="auto">
          <a:xfrm>
            <a:off x="2485052" y="1685175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7E8A71CB-1F07-404C-8EF3-1A76B0C3D087}"/>
              </a:ext>
            </a:extLst>
          </p:cNvPr>
          <p:cNvCxnSpPr>
            <a:cxnSpLocks/>
            <a:stCxn id="15" idx="2"/>
            <a:endCxn id="6" idx="0"/>
          </p:cNvCxnSpPr>
          <p:nvPr/>
        </p:nvCxnSpPr>
        <p:spPr bwMode="auto">
          <a:xfrm>
            <a:off x="3134524" y="2318806"/>
            <a:ext cx="1" cy="72908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" name="流程圖: 替代程序 18">
            <a:extLst>
              <a:ext uri="{FF2B5EF4-FFF2-40B4-BE49-F238E27FC236}">
                <a16:creationId xmlns:a16="http://schemas.microsoft.com/office/drawing/2014/main" id="{B2489666-534A-4F32-9016-559F479D46AD}"/>
              </a:ext>
            </a:extLst>
          </p:cNvPr>
          <p:cNvSpPr/>
          <p:nvPr/>
        </p:nvSpPr>
        <p:spPr bwMode="auto">
          <a:xfrm>
            <a:off x="378018" y="1685175"/>
            <a:ext cx="1384127" cy="675184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V1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20" name="直線單箭頭接點 19">
            <a:extLst>
              <a:ext uri="{FF2B5EF4-FFF2-40B4-BE49-F238E27FC236}">
                <a16:creationId xmlns:a16="http://schemas.microsoft.com/office/drawing/2014/main" id="{B6FD2434-2AA3-4656-83DB-536464D7EBF9}"/>
              </a:ext>
            </a:extLst>
          </p:cNvPr>
          <p:cNvCxnSpPr>
            <a:cxnSpLocks/>
          </p:cNvCxnSpPr>
          <p:nvPr/>
        </p:nvCxnSpPr>
        <p:spPr bwMode="auto">
          <a:xfrm>
            <a:off x="1756705" y="2001990"/>
            <a:ext cx="725238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F06BA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1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F8134FD8-D8FB-4847-BBA3-B69CAA831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7" y="1672763"/>
            <a:ext cx="329221" cy="32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0083029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1.85185E-6 L -0.18438 0.00347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19" y="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5" grpId="0" animBg="1"/>
      <p:bldP spid="19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6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6</a:t>
            </a:fld>
            <a:endParaRPr lang="en-US" altLang="zh-TW" dirty="0"/>
          </a:p>
        </p:txBody>
      </p:sp>
      <p:sp>
        <p:nvSpPr>
          <p:cNvPr id="13" name="流程圖: 替代程序 12">
            <a:extLst>
              <a:ext uri="{FF2B5EF4-FFF2-40B4-BE49-F238E27FC236}">
                <a16:creationId xmlns:a16="http://schemas.microsoft.com/office/drawing/2014/main" id="{747A297A-2802-4EE9-99FC-B14FD4AA997D}"/>
              </a:ext>
            </a:extLst>
          </p:cNvPr>
          <p:cNvSpPr/>
          <p:nvPr/>
        </p:nvSpPr>
        <p:spPr bwMode="auto">
          <a:xfrm>
            <a:off x="9906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4" name="流程圖: 替代程序 13">
            <a:extLst>
              <a:ext uri="{FF2B5EF4-FFF2-40B4-BE49-F238E27FC236}">
                <a16:creationId xmlns:a16="http://schemas.microsoft.com/office/drawing/2014/main" id="{CB7317F5-A800-43DD-B255-1F57B48E844A}"/>
              </a:ext>
            </a:extLst>
          </p:cNvPr>
          <p:cNvSpPr/>
          <p:nvPr/>
        </p:nvSpPr>
        <p:spPr bwMode="auto">
          <a:xfrm>
            <a:off x="983225" y="3605576"/>
            <a:ext cx="1298943" cy="63363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runch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35A3A0B0-4429-4BDC-9FA2-B127CAC4E9E6}"/>
              </a:ext>
            </a:extLst>
          </p:cNvPr>
          <p:cNvSpPr/>
          <p:nvPr/>
        </p:nvSpPr>
        <p:spPr bwMode="auto">
          <a:xfrm>
            <a:off x="985683" y="2574967"/>
            <a:ext cx="1298943" cy="633631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EE590402-910D-4811-8785-D6963D3A46D8}"/>
              </a:ext>
            </a:extLst>
          </p:cNvPr>
          <p:cNvSpPr/>
          <p:nvPr/>
        </p:nvSpPr>
        <p:spPr bwMode="auto">
          <a:xfrm>
            <a:off x="985684" y="4636184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55EBAE04-5121-485A-9FB9-3B2529FE7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6" y="2583345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46F07565-DAC8-4700-B60E-363E823B9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81" y="3605576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3948A4BD-E7EA-4F82-8A42-E701B34D6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5" y="4614351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3984354"/>
      </p:ext>
    </p:extLst>
  </p:cSld>
  <p:clrMapOvr>
    <a:masterClrMapping/>
  </p:clrMapOvr>
  <p:transition spd="slow">
    <p:zoom dir="in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7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7</a:t>
            </a:fld>
            <a:endParaRPr lang="en-US" altLang="zh-TW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9735DCB-6EB0-4E50-896E-14A1A156F293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流程圖: 替代程序 28">
            <a:extLst>
              <a:ext uri="{FF2B5EF4-FFF2-40B4-BE49-F238E27FC236}">
                <a16:creationId xmlns:a16="http://schemas.microsoft.com/office/drawing/2014/main" id="{A1E46639-2F61-4482-80F8-07EE78D8136C}"/>
              </a:ext>
            </a:extLst>
          </p:cNvPr>
          <p:cNvSpPr/>
          <p:nvPr/>
        </p:nvSpPr>
        <p:spPr bwMode="auto">
          <a:xfrm>
            <a:off x="9906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1" name="流程圖: 替代程序 30">
            <a:extLst>
              <a:ext uri="{FF2B5EF4-FFF2-40B4-BE49-F238E27FC236}">
                <a16:creationId xmlns:a16="http://schemas.microsoft.com/office/drawing/2014/main" id="{6AFB4BBB-5FF8-4219-B7DF-9CF275DCA944}"/>
              </a:ext>
            </a:extLst>
          </p:cNvPr>
          <p:cNvSpPr/>
          <p:nvPr/>
        </p:nvSpPr>
        <p:spPr bwMode="auto">
          <a:xfrm>
            <a:off x="985683" y="2574967"/>
            <a:ext cx="1298943" cy="633631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2" name="流程圖: 替代程序 31">
            <a:extLst>
              <a:ext uri="{FF2B5EF4-FFF2-40B4-BE49-F238E27FC236}">
                <a16:creationId xmlns:a16="http://schemas.microsoft.com/office/drawing/2014/main" id="{2DE6F36B-E268-435D-A312-3D3F1863160A}"/>
              </a:ext>
            </a:extLst>
          </p:cNvPr>
          <p:cNvSpPr/>
          <p:nvPr/>
        </p:nvSpPr>
        <p:spPr bwMode="auto">
          <a:xfrm>
            <a:off x="985684" y="4636184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33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DA76DCE5-70CA-40B1-92EE-CF8D27605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6" y="2583345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群組 2">
            <a:extLst>
              <a:ext uri="{FF2B5EF4-FFF2-40B4-BE49-F238E27FC236}">
                <a16:creationId xmlns:a16="http://schemas.microsoft.com/office/drawing/2014/main" id="{E3E81332-CB66-4901-932D-A0407E5A114B}"/>
              </a:ext>
            </a:extLst>
          </p:cNvPr>
          <p:cNvGrpSpPr/>
          <p:nvPr/>
        </p:nvGrpSpPr>
        <p:grpSpPr>
          <a:xfrm>
            <a:off x="836381" y="3605576"/>
            <a:ext cx="1445787" cy="633630"/>
            <a:chOff x="836381" y="3605576"/>
            <a:chExt cx="1445787" cy="633630"/>
          </a:xfrm>
        </p:grpSpPr>
        <p:sp>
          <p:nvSpPr>
            <p:cNvPr id="30" name="流程圖: 替代程序 29">
              <a:extLst>
                <a:ext uri="{FF2B5EF4-FFF2-40B4-BE49-F238E27FC236}">
                  <a16:creationId xmlns:a16="http://schemas.microsoft.com/office/drawing/2014/main" id="{7D2D6FF7-4F9B-4825-80A2-CACA796039F5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34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63610B1-BB9F-404E-9873-0E58346B12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40DE5AEC-C7CB-4D8B-A20F-F9EE0C7C4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5" y="4614351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流程圖: 替代程序 35">
            <a:extLst>
              <a:ext uri="{FF2B5EF4-FFF2-40B4-BE49-F238E27FC236}">
                <a16:creationId xmlns:a16="http://schemas.microsoft.com/office/drawing/2014/main" id="{7E93DCE8-2D7B-4A86-B54D-6E9C8287CFD8}"/>
              </a:ext>
            </a:extLst>
          </p:cNvPr>
          <p:cNvSpPr/>
          <p:nvPr/>
        </p:nvSpPr>
        <p:spPr bwMode="auto">
          <a:xfrm>
            <a:off x="3282745" y="1442883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" name="箭號: 向右 1">
            <a:extLst>
              <a:ext uri="{FF2B5EF4-FFF2-40B4-BE49-F238E27FC236}">
                <a16:creationId xmlns:a16="http://schemas.microsoft.com/office/drawing/2014/main" id="{EF14FADD-4725-424A-8F99-BF802089067E}"/>
              </a:ext>
            </a:extLst>
          </p:cNvPr>
          <p:cNvSpPr/>
          <p:nvPr/>
        </p:nvSpPr>
        <p:spPr bwMode="auto">
          <a:xfrm>
            <a:off x="2349838" y="1533556"/>
            <a:ext cx="838200" cy="45228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609834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4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6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6" grpId="0" animBg="1"/>
      <p:bldP spid="2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8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8</a:t>
            </a:fld>
            <a:endParaRPr lang="en-US" altLang="zh-TW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9735DCB-6EB0-4E50-896E-14A1A156F293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流程圖: 替代程序 28">
            <a:extLst>
              <a:ext uri="{FF2B5EF4-FFF2-40B4-BE49-F238E27FC236}">
                <a16:creationId xmlns:a16="http://schemas.microsoft.com/office/drawing/2014/main" id="{A1E46639-2F61-4482-80F8-07EE78D8136C}"/>
              </a:ext>
            </a:extLst>
          </p:cNvPr>
          <p:cNvSpPr/>
          <p:nvPr/>
        </p:nvSpPr>
        <p:spPr bwMode="auto">
          <a:xfrm>
            <a:off x="9906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1" name="流程圖: 替代程序 30">
            <a:extLst>
              <a:ext uri="{FF2B5EF4-FFF2-40B4-BE49-F238E27FC236}">
                <a16:creationId xmlns:a16="http://schemas.microsoft.com/office/drawing/2014/main" id="{6AFB4BBB-5FF8-4219-B7DF-9CF275DCA944}"/>
              </a:ext>
            </a:extLst>
          </p:cNvPr>
          <p:cNvSpPr/>
          <p:nvPr/>
        </p:nvSpPr>
        <p:spPr bwMode="auto">
          <a:xfrm>
            <a:off x="3273057" y="2610867"/>
            <a:ext cx="1298943" cy="633631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2" name="流程圖: 替代程序 31">
            <a:extLst>
              <a:ext uri="{FF2B5EF4-FFF2-40B4-BE49-F238E27FC236}">
                <a16:creationId xmlns:a16="http://schemas.microsoft.com/office/drawing/2014/main" id="{2DE6F36B-E268-435D-A312-3D3F1863160A}"/>
              </a:ext>
            </a:extLst>
          </p:cNvPr>
          <p:cNvSpPr/>
          <p:nvPr/>
        </p:nvSpPr>
        <p:spPr bwMode="auto">
          <a:xfrm>
            <a:off x="985684" y="4636184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33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DA76DCE5-70CA-40B1-92EE-CF8D27605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380" y="2619245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群組 2">
            <a:extLst>
              <a:ext uri="{FF2B5EF4-FFF2-40B4-BE49-F238E27FC236}">
                <a16:creationId xmlns:a16="http://schemas.microsoft.com/office/drawing/2014/main" id="{E3E81332-CB66-4901-932D-A0407E5A114B}"/>
              </a:ext>
            </a:extLst>
          </p:cNvPr>
          <p:cNvGrpSpPr/>
          <p:nvPr/>
        </p:nvGrpSpPr>
        <p:grpSpPr>
          <a:xfrm>
            <a:off x="3123755" y="3641476"/>
            <a:ext cx="1445787" cy="633630"/>
            <a:chOff x="836381" y="3605576"/>
            <a:chExt cx="1445787" cy="633630"/>
          </a:xfrm>
        </p:grpSpPr>
        <p:sp>
          <p:nvSpPr>
            <p:cNvPr id="30" name="流程圖: 替代程序 29">
              <a:extLst>
                <a:ext uri="{FF2B5EF4-FFF2-40B4-BE49-F238E27FC236}">
                  <a16:creationId xmlns:a16="http://schemas.microsoft.com/office/drawing/2014/main" id="{7D2D6FF7-4F9B-4825-80A2-CACA796039F5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34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63610B1-BB9F-404E-9873-0E58346B12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40DE5AEC-C7CB-4D8B-A20F-F9EE0C7C4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5" y="4614351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流程圖: 替代程序 35">
            <a:extLst>
              <a:ext uri="{FF2B5EF4-FFF2-40B4-BE49-F238E27FC236}">
                <a16:creationId xmlns:a16="http://schemas.microsoft.com/office/drawing/2014/main" id="{7E93DCE8-2D7B-4A86-B54D-6E9C8287CFD8}"/>
              </a:ext>
            </a:extLst>
          </p:cNvPr>
          <p:cNvSpPr/>
          <p:nvPr/>
        </p:nvSpPr>
        <p:spPr bwMode="auto">
          <a:xfrm>
            <a:off x="3282745" y="1442883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" name="箭號: 向右 1">
            <a:extLst>
              <a:ext uri="{FF2B5EF4-FFF2-40B4-BE49-F238E27FC236}">
                <a16:creationId xmlns:a16="http://schemas.microsoft.com/office/drawing/2014/main" id="{EF14FADD-4725-424A-8F99-BF802089067E}"/>
              </a:ext>
            </a:extLst>
          </p:cNvPr>
          <p:cNvSpPr/>
          <p:nvPr/>
        </p:nvSpPr>
        <p:spPr bwMode="auto">
          <a:xfrm>
            <a:off x="2349838" y="1533556"/>
            <a:ext cx="838200" cy="45228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5F392AD4-016C-4009-A1E5-0236B307F4B9}"/>
              </a:ext>
            </a:extLst>
          </p:cNvPr>
          <p:cNvSpPr/>
          <p:nvPr/>
        </p:nvSpPr>
        <p:spPr bwMode="auto">
          <a:xfrm>
            <a:off x="5628967" y="1442883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774C2323-ECEA-4A69-B0A7-2D6408658953}"/>
              </a:ext>
            </a:extLst>
          </p:cNvPr>
          <p:cNvSpPr/>
          <p:nvPr/>
        </p:nvSpPr>
        <p:spPr bwMode="auto">
          <a:xfrm>
            <a:off x="4696060" y="1533556"/>
            <a:ext cx="838200" cy="45228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8822404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1.85185E-6 L 0.25 -1.85185E-6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1.85185E-6 L 0.25 1.85185E-6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3.33333E-6 L 0.25 -3.33333E-6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1" grpId="0" animBg="1"/>
      <p:bldP spid="15" grpId="0" animBg="1"/>
      <p:bldP spid="16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8E012317-4F77-49D5-872E-2F81CD26A484}"/>
              </a:ext>
            </a:extLst>
          </p:cNvPr>
          <p:cNvSpPr/>
          <p:nvPr/>
        </p:nvSpPr>
        <p:spPr bwMode="auto">
          <a:xfrm>
            <a:off x="5410200" y="0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--remote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9</a:t>
            </a:fld>
            <a:endParaRPr lang="en-US" altLang="zh-TW" dirty="0"/>
          </a:p>
        </p:txBody>
      </p:sp>
      <p:sp>
        <p:nvSpPr>
          <p:cNvPr id="27" name="內容版面配置區 1">
            <a:extLst>
              <a:ext uri="{FF2B5EF4-FFF2-40B4-BE49-F238E27FC236}">
                <a16:creationId xmlns:a16="http://schemas.microsoft.com/office/drawing/2014/main" id="{08DCC49E-52A3-4085-945A-BBA2D38FBF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/>
          </a:p>
          <a:p>
            <a:r>
              <a:rPr lang="en-US" altLang="zh-TW" sz="2800" dirty="0"/>
              <a:t>remote </a:t>
            </a:r>
            <a:r>
              <a:rPr lang="zh-TW" altLang="en-US" sz="2800" dirty="0"/>
              <a:t>指的是遠端版本庫的位置</a:t>
            </a:r>
            <a:endParaRPr lang="en-US" altLang="zh-TW" sz="2800" dirty="0"/>
          </a:p>
          <a:p>
            <a:endParaRPr lang="en-US" altLang="zh-TW" sz="2800" dirty="0"/>
          </a:p>
          <a:p>
            <a:r>
              <a:rPr lang="en-US" altLang="zh-TW" sz="2800" dirty="0"/>
              <a:t>origin</a:t>
            </a:r>
            <a:r>
              <a:rPr lang="zh-TW" altLang="en-US" sz="2800" dirty="0"/>
              <a:t>是最常看到的預設名稱</a:t>
            </a:r>
            <a:endParaRPr lang="en-US" altLang="zh-TW" sz="2800" dirty="0"/>
          </a:p>
          <a:p>
            <a:endParaRPr lang="en-US" altLang="zh-TW" sz="2800" dirty="0"/>
          </a:p>
          <a:p>
            <a:endParaRPr lang="en-US" altLang="zh-TW" sz="2800" dirty="0"/>
          </a:p>
          <a:p>
            <a:endParaRPr lang="zh-TW" altLang="en-US" sz="2800" dirty="0"/>
          </a:p>
        </p:txBody>
      </p:sp>
      <p:pic>
        <p:nvPicPr>
          <p:cNvPr id="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8F98DBEB-A711-4B36-84B7-8FCBDCE89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560F3225-6AD7-4419-8799-7564FAD37712}"/>
              </a:ext>
            </a:extLst>
          </p:cNvPr>
          <p:cNvSpPr/>
          <p:nvPr/>
        </p:nvSpPr>
        <p:spPr bwMode="auto">
          <a:xfrm>
            <a:off x="1828800" y="4495800"/>
            <a:ext cx="51816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remote add k8switlab </a:t>
            </a:r>
            <a:r>
              <a:rPr kumimoji="0" lang="zh-TW" altLang="en-US" dirty="0">
                <a:solidFill>
                  <a:schemeClr val="tx1"/>
                </a:solidFill>
                <a:latin typeface="Arial" charset="0"/>
                <a:ea typeface="新細明體" charset="-120"/>
              </a:rPr>
              <a:t>遠端版本庫位置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471548033"/>
      </p:ext>
    </p:extLst>
  </p:cSld>
  <p:clrMapOvr>
    <a:masterClrMapping/>
  </p:clrMapOvr>
  <p:transition spd="slow">
    <p:zoom dir="in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600" y="2432220"/>
            <a:ext cx="5638800" cy="646331"/>
          </a:xfrm>
        </p:spPr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和 </a:t>
            </a:r>
            <a:r>
              <a:rPr lang="en-US" altLang="zh-TW" dirty="0"/>
              <a:t>GitHub</a:t>
            </a:r>
            <a:r>
              <a:rPr lang="zh-TW" altLang="en-US" dirty="0"/>
              <a:t>差在那裡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E2EAC96D-10C2-4214-92AB-D442FDBD84FB}"/>
              </a:ext>
            </a:extLst>
          </p:cNvPr>
          <p:cNvSpPr txBox="1">
            <a:spLocks/>
          </p:cNvSpPr>
          <p:nvPr/>
        </p:nvSpPr>
        <p:spPr bwMode="auto">
          <a:xfrm>
            <a:off x="1676400" y="908220"/>
            <a:ext cx="56388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zh-TW" altLang="en-US" kern="0" dirty="0"/>
              <a:t>問題一：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" name="筆跡 5">
                <a:extLst>
                  <a:ext uri="{FF2B5EF4-FFF2-40B4-BE49-F238E27FC236}">
                    <a16:creationId xmlns:a16="http://schemas.microsoft.com/office/drawing/2014/main" id="{F87D10C7-E720-46F9-BE4A-1F5508353A0F}"/>
                  </a:ext>
                </a:extLst>
              </p14:cNvPr>
              <p14:cNvContentPartPr/>
              <p14:nvPr/>
            </p14:nvContentPartPr>
            <p14:xfrm>
              <a:off x="244260" y="4425780"/>
              <a:ext cx="8655480" cy="1968840"/>
            </p14:xfrm>
          </p:contentPart>
        </mc:Choice>
        <mc:Fallback xmlns="">
          <p:pic>
            <p:nvPicPr>
              <p:cNvPr id="6" name="筆跡 5">
                <a:extLst>
                  <a:ext uri="{FF2B5EF4-FFF2-40B4-BE49-F238E27FC236}">
                    <a16:creationId xmlns:a16="http://schemas.microsoft.com/office/drawing/2014/main" id="{F87D10C7-E720-46F9-BE4A-1F5508353A0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4900" y="4416420"/>
                <a:ext cx="8674200" cy="198756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矩形 1">
            <a:extLst>
              <a:ext uri="{FF2B5EF4-FFF2-40B4-BE49-F238E27FC236}">
                <a16:creationId xmlns:a16="http://schemas.microsoft.com/office/drawing/2014/main" id="{4BD056D5-6A1E-4789-909C-F3BDF6489109}"/>
              </a:ext>
            </a:extLst>
          </p:cNvPr>
          <p:cNvSpPr/>
          <p:nvPr/>
        </p:nvSpPr>
        <p:spPr bwMode="auto">
          <a:xfrm>
            <a:off x="244260" y="3663780"/>
            <a:ext cx="1279740" cy="2209800"/>
          </a:xfrm>
          <a:prstGeom prst="rect">
            <a:avLst/>
          </a:prstGeom>
          <a:solidFill>
            <a:srgbClr val="FFFFCC">
              <a:alpha val="21961"/>
            </a:srgbClr>
          </a:solidFill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409356656"/>
      </p:ext>
    </p:extLst>
  </p:cSld>
  <p:clrMapOvr>
    <a:masterClrMapping/>
  </p:clrMapOvr>
  <p:transition spd="slow">
    <p:zoom dir="in"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8E012317-4F77-49D5-872E-2F81CD26A484}"/>
              </a:ext>
            </a:extLst>
          </p:cNvPr>
          <p:cNvSpPr/>
          <p:nvPr/>
        </p:nvSpPr>
        <p:spPr bwMode="auto">
          <a:xfrm>
            <a:off x="5410200" y="0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--remote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0</a:t>
            </a:fld>
            <a:endParaRPr lang="en-US" altLang="zh-TW" dirty="0"/>
          </a:p>
        </p:txBody>
      </p:sp>
      <p:sp>
        <p:nvSpPr>
          <p:cNvPr id="27" name="內容版面配置區 1">
            <a:extLst>
              <a:ext uri="{FF2B5EF4-FFF2-40B4-BE49-F238E27FC236}">
                <a16:creationId xmlns:a16="http://schemas.microsoft.com/office/drawing/2014/main" id="{08DCC49E-52A3-4085-945A-BBA2D38FBF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/>
          </a:p>
          <a:p>
            <a:r>
              <a:rPr lang="en-US" altLang="zh-TW" sz="2800" dirty="0"/>
              <a:t>remote </a:t>
            </a:r>
            <a:r>
              <a:rPr lang="zh-TW" altLang="en-US" sz="2800" dirty="0"/>
              <a:t>指的是遠端版本庫的位置</a:t>
            </a:r>
            <a:endParaRPr lang="en-US" altLang="zh-TW" sz="2800" dirty="0"/>
          </a:p>
          <a:p>
            <a:endParaRPr lang="en-US" altLang="zh-TW" sz="2800" dirty="0"/>
          </a:p>
          <a:p>
            <a:r>
              <a:rPr lang="en-US" altLang="zh-TW" sz="2800" dirty="0"/>
              <a:t>origin</a:t>
            </a:r>
            <a:r>
              <a:rPr lang="zh-TW" altLang="en-US" sz="2800" dirty="0"/>
              <a:t>是最常看到的預設名稱</a:t>
            </a:r>
            <a:endParaRPr lang="en-US" altLang="zh-TW" sz="2800" dirty="0"/>
          </a:p>
          <a:p>
            <a:endParaRPr lang="en-US" altLang="zh-TW" sz="2800" dirty="0"/>
          </a:p>
          <a:p>
            <a:endParaRPr lang="en-US" altLang="zh-TW" sz="2800" dirty="0"/>
          </a:p>
          <a:p>
            <a:endParaRPr lang="zh-TW" altLang="en-US" sz="2800" dirty="0"/>
          </a:p>
        </p:txBody>
      </p:sp>
      <p:pic>
        <p:nvPicPr>
          <p:cNvPr id="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8F98DBEB-A711-4B36-84B7-8FCBDCE89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560F3225-6AD7-4419-8799-7564FAD37712}"/>
              </a:ext>
            </a:extLst>
          </p:cNvPr>
          <p:cNvSpPr/>
          <p:nvPr/>
        </p:nvSpPr>
        <p:spPr bwMode="auto">
          <a:xfrm>
            <a:off x="189578" y="4191000"/>
            <a:ext cx="51816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remote add k8switlab </a:t>
            </a:r>
            <a:r>
              <a:rPr kumimoji="0" lang="zh-TW" altLang="en-US" dirty="0">
                <a:solidFill>
                  <a:schemeClr val="tx1"/>
                </a:solidFill>
                <a:latin typeface="Arial" charset="0"/>
                <a:ea typeface="新細明體" charset="-120"/>
              </a:rPr>
              <a:t>遠端版本庫位置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1FC71837-B671-45DA-A8D9-8813054A23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7837" y="3628410"/>
            <a:ext cx="3514725" cy="30956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87833162"/>
      </p:ext>
    </p:extLst>
  </p:cSld>
  <p:clrMapOvr>
    <a:masterClrMapping/>
  </p:clrMapOvr>
  <p:transition spd="slow">
    <p:zoom dir="in"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1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1</a:t>
            </a:fld>
            <a:endParaRPr lang="en-US" altLang="zh-TW" dirty="0"/>
          </a:p>
        </p:txBody>
      </p:sp>
      <p:sp>
        <p:nvSpPr>
          <p:cNvPr id="13" name="流程圖: 替代程序 12">
            <a:extLst>
              <a:ext uri="{FF2B5EF4-FFF2-40B4-BE49-F238E27FC236}">
                <a16:creationId xmlns:a16="http://schemas.microsoft.com/office/drawing/2014/main" id="{747A297A-2802-4EE9-99FC-B14FD4AA997D}"/>
              </a:ext>
            </a:extLst>
          </p:cNvPr>
          <p:cNvSpPr/>
          <p:nvPr/>
        </p:nvSpPr>
        <p:spPr bwMode="auto">
          <a:xfrm>
            <a:off x="9906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4" name="流程圖: 替代程序 13">
            <a:extLst>
              <a:ext uri="{FF2B5EF4-FFF2-40B4-BE49-F238E27FC236}">
                <a16:creationId xmlns:a16="http://schemas.microsoft.com/office/drawing/2014/main" id="{CB7317F5-A800-43DD-B255-1F57B48E844A}"/>
              </a:ext>
            </a:extLst>
          </p:cNvPr>
          <p:cNvSpPr/>
          <p:nvPr/>
        </p:nvSpPr>
        <p:spPr bwMode="auto">
          <a:xfrm>
            <a:off x="983225" y="3605576"/>
            <a:ext cx="1298943" cy="63363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master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35A3A0B0-4429-4BDC-9FA2-B127CAC4E9E6}"/>
              </a:ext>
            </a:extLst>
          </p:cNvPr>
          <p:cNvSpPr/>
          <p:nvPr/>
        </p:nvSpPr>
        <p:spPr bwMode="auto">
          <a:xfrm>
            <a:off x="985683" y="2574967"/>
            <a:ext cx="1298943" cy="633631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EE590402-910D-4811-8785-D6963D3A46D8}"/>
              </a:ext>
            </a:extLst>
          </p:cNvPr>
          <p:cNvSpPr/>
          <p:nvPr/>
        </p:nvSpPr>
        <p:spPr bwMode="auto">
          <a:xfrm>
            <a:off x="985684" y="4636184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origin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55EBAE04-5121-485A-9FB9-3B2529FE7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6" y="2583345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46F07565-DAC8-4700-B60E-363E823B9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81" y="3605576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3948A4BD-E7EA-4F82-8A42-E701B34D6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5" y="4614351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67513204-F2A2-4D22-A20D-00401E307085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EA5641A-5A85-471B-A92B-025273C6C9A3}"/>
              </a:ext>
            </a:extLst>
          </p:cNvPr>
          <p:cNvSpPr/>
          <p:nvPr/>
        </p:nvSpPr>
        <p:spPr bwMode="auto">
          <a:xfrm>
            <a:off x="5250714" y="3689"/>
            <a:ext cx="3893286" cy="526612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7" name="流程圖: 替代程序 16">
            <a:extLst>
              <a:ext uri="{FF2B5EF4-FFF2-40B4-BE49-F238E27FC236}">
                <a16:creationId xmlns:a16="http://schemas.microsoft.com/office/drawing/2014/main" id="{45C8FCFB-5FC2-467F-A576-B3B71D736F53}"/>
              </a:ext>
            </a:extLst>
          </p:cNvPr>
          <p:cNvSpPr/>
          <p:nvPr/>
        </p:nvSpPr>
        <p:spPr bwMode="auto">
          <a:xfrm>
            <a:off x="5410200" y="1143001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C55B2E35-DEAC-4031-99BA-D30FF88F728A}"/>
              </a:ext>
            </a:extLst>
          </p:cNvPr>
          <p:cNvSpPr txBox="1"/>
          <p:nvPr/>
        </p:nvSpPr>
        <p:spPr>
          <a:xfrm>
            <a:off x="5410200" y="0"/>
            <a:ext cx="11865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dirty="0"/>
              <a:t>origin</a:t>
            </a:r>
            <a:endParaRPr lang="zh-TW" altLang="en-US" sz="3200" dirty="0"/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A16EF8E2-8563-4902-965B-66F51782D238}"/>
              </a:ext>
            </a:extLst>
          </p:cNvPr>
          <p:cNvSpPr/>
          <p:nvPr/>
        </p:nvSpPr>
        <p:spPr bwMode="auto">
          <a:xfrm>
            <a:off x="5407742" y="3180346"/>
            <a:ext cx="1298943" cy="63363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master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流程圖: 替代程序 20">
            <a:extLst>
              <a:ext uri="{FF2B5EF4-FFF2-40B4-BE49-F238E27FC236}">
                <a16:creationId xmlns:a16="http://schemas.microsoft.com/office/drawing/2014/main" id="{635D7BE1-587A-4793-876C-30910BF9B42A}"/>
              </a:ext>
            </a:extLst>
          </p:cNvPr>
          <p:cNvSpPr/>
          <p:nvPr/>
        </p:nvSpPr>
        <p:spPr bwMode="auto">
          <a:xfrm>
            <a:off x="5410200" y="2149737"/>
            <a:ext cx="1298943" cy="633631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23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AB5B3559-9189-412F-877F-25AE03845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523" y="2158115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78D4F956-8664-4571-9ECD-98038F4F27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0898" y="3180346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文字方塊 24">
            <a:extLst>
              <a:ext uri="{FF2B5EF4-FFF2-40B4-BE49-F238E27FC236}">
                <a16:creationId xmlns:a16="http://schemas.microsoft.com/office/drawing/2014/main" id="{4AE33048-D2AB-49F4-BB16-46E1BC8A9F5A}"/>
              </a:ext>
            </a:extLst>
          </p:cNvPr>
          <p:cNvSpPr txBox="1"/>
          <p:nvPr/>
        </p:nvSpPr>
        <p:spPr>
          <a:xfrm>
            <a:off x="1046799" y="369489"/>
            <a:ext cx="10278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dirty="0"/>
              <a:t>local</a:t>
            </a:r>
            <a:endParaRPr lang="zh-TW" altLang="en-US" sz="3200" dirty="0"/>
          </a:p>
        </p:txBody>
      </p:sp>
    </p:spTree>
    <p:extLst>
      <p:ext uri="{BB962C8B-B14F-4D97-AF65-F5344CB8AC3E}">
        <p14:creationId xmlns:p14="http://schemas.microsoft.com/office/powerpoint/2010/main" val="3903866486"/>
      </p:ext>
    </p:extLst>
  </p:cSld>
  <p:clrMapOvr>
    <a:masterClrMapping/>
  </p:clrMapOvr>
  <p:transition spd="slow">
    <p:zoom dir="in"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2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2</a:t>
            </a:fld>
            <a:endParaRPr lang="en-US" altLang="zh-TW" dirty="0"/>
          </a:p>
        </p:txBody>
      </p:sp>
      <p:sp>
        <p:nvSpPr>
          <p:cNvPr id="13" name="流程圖: 替代程序 12">
            <a:extLst>
              <a:ext uri="{FF2B5EF4-FFF2-40B4-BE49-F238E27FC236}">
                <a16:creationId xmlns:a16="http://schemas.microsoft.com/office/drawing/2014/main" id="{747A297A-2802-4EE9-99FC-B14FD4AA997D}"/>
              </a:ext>
            </a:extLst>
          </p:cNvPr>
          <p:cNvSpPr/>
          <p:nvPr/>
        </p:nvSpPr>
        <p:spPr bwMode="auto">
          <a:xfrm>
            <a:off x="9906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EE590402-910D-4811-8785-D6963D3A46D8}"/>
              </a:ext>
            </a:extLst>
          </p:cNvPr>
          <p:cNvSpPr/>
          <p:nvPr/>
        </p:nvSpPr>
        <p:spPr bwMode="auto">
          <a:xfrm>
            <a:off x="985684" y="4636184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origin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E934AA19-693E-445F-B37F-D2411AE0A648}"/>
              </a:ext>
            </a:extLst>
          </p:cNvPr>
          <p:cNvGrpSpPr/>
          <p:nvPr/>
        </p:nvGrpSpPr>
        <p:grpSpPr>
          <a:xfrm>
            <a:off x="829006" y="2574967"/>
            <a:ext cx="1455620" cy="633631"/>
            <a:chOff x="829006" y="2574967"/>
            <a:chExt cx="1455620" cy="633631"/>
          </a:xfrm>
        </p:grpSpPr>
        <p:sp>
          <p:nvSpPr>
            <p:cNvPr id="15" name="流程圖: 替代程序 14">
              <a:extLst>
                <a:ext uri="{FF2B5EF4-FFF2-40B4-BE49-F238E27FC236}">
                  <a16:creationId xmlns:a16="http://schemas.microsoft.com/office/drawing/2014/main" id="{35A3A0B0-4429-4BDC-9FA2-B127CAC4E9E6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55EBAE04-5121-485A-9FB9-3B2529FE75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7E9D274B-A418-4A95-B17D-AC80F900F697}"/>
              </a:ext>
            </a:extLst>
          </p:cNvPr>
          <p:cNvGrpSpPr/>
          <p:nvPr/>
        </p:nvGrpSpPr>
        <p:grpSpPr>
          <a:xfrm>
            <a:off x="836381" y="3605576"/>
            <a:ext cx="1445787" cy="633630"/>
            <a:chOff x="836381" y="3605576"/>
            <a:chExt cx="1445787" cy="633630"/>
          </a:xfrm>
        </p:grpSpPr>
        <p:sp>
          <p:nvSpPr>
            <p:cNvPr id="14" name="流程圖: 替代程序 13">
              <a:extLst>
                <a:ext uri="{FF2B5EF4-FFF2-40B4-BE49-F238E27FC236}">
                  <a16:creationId xmlns:a16="http://schemas.microsoft.com/office/drawing/2014/main" id="{CB7317F5-A800-43DD-B255-1F57B48E844A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0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6F07565-DAC8-4700-B60E-363E823B97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3948A4BD-E7EA-4F82-8A42-E701B34D6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05" y="4614351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67513204-F2A2-4D22-A20D-00401E307085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EA5641A-5A85-471B-A92B-025273C6C9A3}"/>
              </a:ext>
            </a:extLst>
          </p:cNvPr>
          <p:cNvSpPr/>
          <p:nvPr/>
        </p:nvSpPr>
        <p:spPr bwMode="auto">
          <a:xfrm>
            <a:off x="5250714" y="3689"/>
            <a:ext cx="3893286" cy="526612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7" name="流程圖: 替代程序 16">
            <a:extLst>
              <a:ext uri="{FF2B5EF4-FFF2-40B4-BE49-F238E27FC236}">
                <a16:creationId xmlns:a16="http://schemas.microsoft.com/office/drawing/2014/main" id="{45C8FCFB-5FC2-467F-A576-B3B71D736F53}"/>
              </a:ext>
            </a:extLst>
          </p:cNvPr>
          <p:cNvSpPr/>
          <p:nvPr/>
        </p:nvSpPr>
        <p:spPr bwMode="auto">
          <a:xfrm>
            <a:off x="5410200" y="1143001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C55B2E35-DEAC-4031-99BA-D30FF88F728A}"/>
              </a:ext>
            </a:extLst>
          </p:cNvPr>
          <p:cNvSpPr txBox="1"/>
          <p:nvPr/>
        </p:nvSpPr>
        <p:spPr>
          <a:xfrm>
            <a:off x="5410200" y="0"/>
            <a:ext cx="11865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dirty="0"/>
              <a:t>origin</a:t>
            </a:r>
            <a:endParaRPr lang="zh-TW" altLang="en-US" sz="3200" dirty="0"/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A16EF8E2-8563-4902-965B-66F51782D238}"/>
              </a:ext>
            </a:extLst>
          </p:cNvPr>
          <p:cNvSpPr/>
          <p:nvPr/>
        </p:nvSpPr>
        <p:spPr bwMode="auto">
          <a:xfrm>
            <a:off x="5407742" y="3180346"/>
            <a:ext cx="1298943" cy="63363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master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流程圖: 替代程序 20">
            <a:extLst>
              <a:ext uri="{FF2B5EF4-FFF2-40B4-BE49-F238E27FC236}">
                <a16:creationId xmlns:a16="http://schemas.microsoft.com/office/drawing/2014/main" id="{635D7BE1-587A-4793-876C-30910BF9B42A}"/>
              </a:ext>
            </a:extLst>
          </p:cNvPr>
          <p:cNvSpPr/>
          <p:nvPr/>
        </p:nvSpPr>
        <p:spPr bwMode="auto">
          <a:xfrm>
            <a:off x="5410200" y="2149737"/>
            <a:ext cx="1298943" cy="633631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23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AB5B3559-9189-412F-877F-25AE03845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523" y="2158115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78D4F956-8664-4571-9ECD-98038F4F27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0898" y="3180346"/>
            <a:ext cx="308437" cy="30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文字方塊 24">
            <a:extLst>
              <a:ext uri="{FF2B5EF4-FFF2-40B4-BE49-F238E27FC236}">
                <a16:creationId xmlns:a16="http://schemas.microsoft.com/office/drawing/2014/main" id="{4AE33048-D2AB-49F4-BB16-46E1BC8A9F5A}"/>
              </a:ext>
            </a:extLst>
          </p:cNvPr>
          <p:cNvSpPr txBox="1"/>
          <p:nvPr/>
        </p:nvSpPr>
        <p:spPr>
          <a:xfrm>
            <a:off x="1046799" y="369489"/>
            <a:ext cx="10278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dirty="0"/>
              <a:t>local</a:t>
            </a:r>
            <a:endParaRPr lang="zh-TW" altLang="en-US" sz="3200" dirty="0"/>
          </a:p>
        </p:txBody>
      </p:sp>
      <p:sp>
        <p:nvSpPr>
          <p:cNvPr id="26" name="流程圖: 替代程序 25">
            <a:extLst>
              <a:ext uri="{FF2B5EF4-FFF2-40B4-BE49-F238E27FC236}">
                <a16:creationId xmlns:a16="http://schemas.microsoft.com/office/drawing/2014/main" id="{9BC29231-E874-4F99-A2C7-C8B0E89A13AA}"/>
              </a:ext>
            </a:extLst>
          </p:cNvPr>
          <p:cNvSpPr/>
          <p:nvPr/>
        </p:nvSpPr>
        <p:spPr bwMode="auto">
          <a:xfrm>
            <a:off x="3209833" y="1437882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箭號: 向右 5">
            <a:extLst>
              <a:ext uri="{FF2B5EF4-FFF2-40B4-BE49-F238E27FC236}">
                <a16:creationId xmlns:a16="http://schemas.microsoft.com/office/drawing/2014/main" id="{3DD02B3D-70DC-43D2-96C5-62D20B2A71BC}"/>
              </a:ext>
            </a:extLst>
          </p:cNvPr>
          <p:cNvSpPr/>
          <p:nvPr/>
        </p:nvSpPr>
        <p:spPr bwMode="auto">
          <a:xfrm>
            <a:off x="2467895" y="1487997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01971588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1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6" grpId="0" animBg="1"/>
      <p:bldP spid="6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441C4C1E-97F8-4E64-B55E-CD3688E927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3</a:t>
            </a:fld>
            <a:endParaRPr lang="en-US" altLang="zh-TW" dirty="0"/>
          </a:p>
        </p:txBody>
      </p:sp>
      <p:sp>
        <p:nvSpPr>
          <p:cNvPr id="5" name="投影片編號版面配置區 3">
            <a:extLst>
              <a:ext uri="{FF2B5EF4-FFF2-40B4-BE49-F238E27FC236}">
                <a16:creationId xmlns:a16="http://schemas.microsoft.com/office/drawing/2014/main" id="{788CCDA3-0B13-4AF0-9ED1-5787FFE6CFF7}"/>
              </a:ext>
            </a:extLst>
          </p:cNvPr>
          <p:cNvSpPr txBox="1">
            <a:spLocks/>
          </p:cNvSpPr>
          <p:nvPr/>
        </p:nvSpPr>
        <p:spPr bwMode="auto">
          <a:xfrm>
            <a:off x="4419600" y="65532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3</a:t>
            </a:fld>
            <a:endParaRPr lang="en-US" altLang="zh-TW" dirty="0"/>
          </a:p>
        </p:txBody>
      </p:sp>
      <p:sp>
        <p:nvSpPr>
          <p:cNvPr id="13" name="流程圖: 替代程序 12">
            <a:extLst>
              <a:ext uri="{FF2B5EF4-FFF2-40B4-BE49-F238E27FC236}">
                <a16:creationId xmlns:a16="http://schemas.microsoft.com/office/drawing/2014/main" id="{747A297A-2802-4EE9-99FC-B14FD4AA997D}"/>
              </a:ext>
            </a:extLst>
          </p:cNvPr>
          <p:cNvSpPr/>
          <p:nvPr/>
        </p:nvSpPr>
        <p:spPr bwMode="auto">
          <a:xfrm>
            <a:off x="9906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E934AA19-693E-445F-B37F-D2411AE0A648}"/>
              </a:ext>
            </a:extLst>
          </p:cNvPr>
          <p:cNvGrpSpPr/>
          <p:nvPr/>
        </p:nvGrpSpPr>
        <p:grpSpPr>
          <a:xfrm>
            <a:off x="3040180" y="2574967"/>
            <a:ext cx="1455620" cy="633631"/>
            <a:chOff x="829006" y="2574967"/>
            <a:chExt cx="1455620" cy="633631"/>
          </a:xfrm>
        </p:grpSpPr>
        <p:sp>
          <p:nvSpPr>
            <p:cNvPr id="15" name="流程圖: 替代程序 14">
              <a:extLst>
                <a:ext uri="{FF2B5EF4-FFF2-40B4-BE49-F238E27FC236}">
                  <a16:creationId xmlns:a16="http://schemas.microsoft.com/office/drawing/2014/main" id="{35A3A0B0-4429-4BDC-9FA2-B127CAC4E9E6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55EBAE04-5121-485A-9FB9-3B2529FE75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7E9D274B-A418-4A95-B17D-AC80F900F697}"/>
              </a:ext>
            </a:extLst>
          </p:cNvPr>
          <p:cNvGrpSpPr/>
          <p:nvPr/>
        </p:nvGrpSpPr>
        <p:grpSpPr>
          <a:xfrm>
            <a:off x="3047555" y="3605576"/>
            <a:ext cx="1445787" cy="633630"/>
            <a:chOff x="836381" y="3605576"/>
            <a:chExt cx="1445787" cy="633630"/>
          </a:xfrm>
        </p:grpSpPr>
        <p:sp>
          <p:nvSpPr>
            <p:cNvPr id="14" name="流程圖: 替代程序 13">
              <a:extLst>
                <a:ext uri="{FF2B5EF4-FFF2-40B4-BE49-F238E27FC236}">
                  <a16:creationId xmlns:a16="http://schemas.microsoft.com/office/drawing/2014/main" id="{CB7317F5-A800-43DD-B255-1F57B48E844A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0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6F07565-DAC8-4700-B60E-363E823B97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FAE6BF67-A871-4591-BB11-8AF5786BAD8C}"/>
              </a:ext>
            </a:extLst>
          </p:cNvPr>
          <p:cNvGrpSpPr/>
          <p:nvPr/>
        </p:nvGrpSpPr>
        <p:grpSpPr>
          <a:xfrm>
            <a:off x="829005" y="4614351"/>
            <a:ext cx="1455622" cy="655464"/>
            <a:chOff x="829005" y="4614351"/>
            <a:chExt cx="1455622" cy="655464"/>
          </a:xfrm>
        </p:grpSpPr>
        <p:sp>
          <p:nvSpPr>
            <p:cNvPr id="16" name="流程圖: 替代程序 15">
              <a:extLst>
                <a:ext uri="{FF2B5EF4-FFF2-40B4-BE49-F238E27FC236}">
                  <a16:creationId xmlns:a16="http://schemas.microsoft.com/office/drawing/2014/main" id="{EE590402-910D-4811-8785-D6963D3A46D8}"/>
                </a:ext>
              </a:extLst>
            </p:cNvPr>
            <p:cNvSpPr/>
            <p:nvPr/>
          </p:nvSpPr>
          <p:spPr bwMode="auto">
            <a:xfrm>
              <a:off x="985684" y="4636184"/>
              <a:ext cx="1298943" cy="633631"/>
            </a:xfrm>
            <a:prstGeom prst="flowChartAlternateProcess">
              <a:avLst/>
            </a:prstGeom>
            <a:solidFill>
              <a:srgbClr val="EC5D57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新細明體" charset="-120"/>
                </a:rPr>
                <a:t>origin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948A4BD-E7EA-4F82-8A42-E701B34D69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5" y="4614351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矩形 10">
            <a:extLst>
              <a:ext uri="{FF2B5EF4-FFF2-40B4-BE49-F238E27FC236}">
                <a16:creationId xmlns:a16="http://schemas.microsoft.com/office/drawing/2014/main" id="{67513204-F2A2-4D22-A20D-00401E307085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git push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EA5641A-5A85-471B-A92B-025273C6C9A3}"/>
              </a:ext>
            </a:extLst>
          </p:cNvPr>
          <p:cNvSpPr/>
          <p:nvPr/>
        </p:nvSpPr>
        <p:spPr bwMode="auto">
          <a:xfrm>
            <a:off x="5250714" y="3689"/>
            <a:ext cx="3893286" cy="526612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7" name="流程圖: 替代程序 16">
            <a:extLst>
              <a:ext uri="{FF2B5EF4-FFF2-40B4-BE49-F238E27FC236}">
                <a16:creationId xmlns:a16="http://schemas.microsoft.com/office/drawing/2014/main" id="{45C8FCFB-5FC2-467F-A576-B3B71D736F53}"/>
              </a:ext>
            </a:extLst>
          </p:cNvPr>
          <p:cNvSpPr/>
          <p:nvPr/>
        </p:nvSpPr>
        <p:spPr bwMode="auto">
          <a:xfrm>
            <a:off x="5410200" y="1143001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C55B2E35-DEAC-4031-99BA-D30FF88F728A}"/>
              </a:ext>
            </a:extLst>
          </p:cNvPr>
          <p:cNvSpPr txBox="1"/>
          <p:nvPr/>
        </p:nvSpPr>
        <p:spPr>
          <a:xfrm>
            <a:off x="5410200" y="0"/>
            <a:ext cx="11865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dirty="0"/>
              <a:t>origin</a:t>
            </a:r>
            <a:endParaRPr lang="zh-TW" altLang="en-US" sz="3200" dirty="0"/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4AE33048-D2AB-49F4-BB16-46E1BC8A9F5A}"/>
              </a:ext>
            </a:extLst>
          </p:cNvPr>
          <p:cNvSpPr txBox="1"/>
          <p:nvPr/>
        </p:nvSpPr>
        <p:spPr>
          <a:xfrm>
            <a:off x="1046799" y="369489"/>
            <a:ext cx="10278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dirty="0"/>
              <a:t>local</a:t>
            </a:r>
            <a:endParaRPr lang="zh-TW" altLang="en-US" sz="3200" dirty="0"/>
          </a:p>
        </p:txBody>
      </p:sp>
      <p:sp>
        <p:nvSpPr>
          <p:cNvPr id="26" name="流程圖: 替代程序 25">
            <a:extLst>
              <a:ext uri="{FF2B5EF4-FFF2-40B4-BE49-F238E27FC236}">
                <a16:creationId xmlns:a16="http://schemas.microsoft.com/office/drawing/2014/main" id="{9BC29231-E874-4F99-A2C7-C8B0E89A13AA}"/>
              </a:ext>
            </a:extLst>
          </p:cNvPr>
          <p:cNvSpPr/>
          <p:nvPr/>
        </p:nvSpPr>
        <p:spPr bwMode="auto">
          <a:xfrm>
            <a:off x="3209833" y="1437882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6" name="箭號: 向右 5">
            <a:extLst>
              <a:ext uri="{FF2B5EF4-FFF2-40B4-BE49-F238E27FC236}">
                <a16:creationId xmlns:a16="http://schemas.microsoft.com/office/drawing/2014/main" id="{3DD02B3D-70DC-43D2-96C5-62D20B2A71BC}"/>
              </a:ext>
            </a:extLst>
          </p:cNvPr>
          <p:cNvSpPr/>
          <p:nvPr/>
        </p:nvSpPr>
        <p:spPr bwMode="auto">
          <a:xfrm>
            <a:off x="2467895" y="1487997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7" name="群組 26">
            <a:extLst>
              <a:ext uri="{FF2B5EF4-FFF2-40B4-BE49-F238E27FC236}">
                <a16:creationId xmlns:a16="http://schemas.microsoft.com/office/drawing/2014/main" id="{101F8ED1-7EA2-4A54-8CF7-826E1538E5B4}"/>
              </a:ext>
            </a:extLst>
          </p:cNvPr>
          <p:cNvGrpSpPr/>
          <p:nvPr/>
        </p:nvGrpSpPr>
        <p:grpSpPr>
          <a:xfrm>
            <a:off x="5288585" y="2300845"/>
            <a:ext cx="1455620" cy="633631"/>
            <a:chOff x="829006" y="2574967"/>
            <a:chExt cx="1455620" cy="633631"/>
          </a:xfrm>
        </p:grpSpPr>
        <p:sp>
          <p:nvSpPr>
            <p:cNvPr id="28" name="流程圖: 替代程序 27">
              <a:extLst>
                <a:ext uri="{FF2B5EF4-FFF2-40B4-BE49-F238E27FC236}">
                  <a16:creationId xmlns:a16="http://schemas.microsoft.com/office/drawing/2014/main" id="{530FA88D-0B45-4F13-AD08-235D278C83F0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0D73A442-3D69-4C17-9BC9-A629F39BA2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群組 29">
            <a:extLst>
              <a:ext uri="{FF2B5EF4-FFF2-40B4-BE49-F238E27FC236}">
                <a16:creationId xmlns:a16="http://schemas.microsoft.com/office/drawing/2014/main" id="{A2E2E6D3-0981-4822-8839-1D3ABA8C1E04}"/>
              </a:ext>
            </a:extLst>
          </p:cNvPr>
          <p:cNvGrpSpPr/>
          <p:nvPr/>
        </p:nvGrpSpPr>
        <p:grpSpPr>
          <a:xfrm>
            <a:off x="5295960" y="3331454"/>
            <a:ext cx="1445787" cy="633630"/>
            <a:chOff x="836381" y="3605576"/>
            <a:chExt cx="1445787" cy="633630"/>
          </a:xfrm>
        </p:grpSpPr>
        <p:sp>
          <p:nvSpPr>
            <p:cNvPr id="31" name="流程圖: 替代程序 30">
              <a:extLst>
                <a:ext uri="{FF2B5EF4-FFF2-40B4-BE49-F238E27FC236}">
                  <a16:creationId xmlns:a16="http://schemas.microsoft.com/office/drawing/2014/main" id="{A53A514E-D1E9-4D6F-A1DE-311ADAAE5090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3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F7ED19D1-142D-4E12-8722-EDE8FE04E1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流程圖: 替代程序 32">
            <a:extLst>
              <a:ext uri="{FF2B5EF4-FFF2-40B4-BE49-F238E27FC236}">
                <a16:creationId xmlns:a16="http://schemas.microsoft.com/office/drawing/2014/main" id="{6DBCC976-50B9-4EB2-8058-61144EFD3E1A}"/>
              </a:ext>
            </a:extLst>
          </p:cNvPr>
          <p:cNvSpPr/>
          <p:nvPr/>
        </p:nvSpPr>
        <p:spPr bwMode="auto">
          <a:xfrm>
            <a:off x="7669412" y="116376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4" name="箭號: 向右 33">
            <a:extLst>
              <a:ext uri="{FF2B5EF4-FFF2-40B4-BE49-F238E27FC236}">
                <a16:creationId xmlns:a16="http://schemas.microsoft.com/office/drawing/2014/main" id="{FB948256-14A4-4A44-B910-66187486ED60}"/>
              </a:ext>
            </a:extLst>
          </p:cNvPr>
          <p:cNvSpPr/>
          <p:nvPr/>
        </p:nvSpPr>
        <p:spPr bwMode="auto">
          <a:xfrm>
            <a:off x="6927474" y="1213875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8907174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48148E-6 L 0.25 -1.48148E-6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4.44444E-6 L 0.25 -4.44444E-6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3" grpId="0" animBg="1"/>
      <p:bldP spid="34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四大</a:t>
            </a:r>
            <a:r>
              <a:rPr lang="zh-TW" altLang="en-US" dirty="0">
                <a:solidFill>
                  <a:srgbClr val="FF0000"/>
                </a:solidFill>
              </a:rPr>
              <a:t>指標</a:t>
            </a:r>
            <a:r>
              <a:rPr lang="zh-TW" altLang="en-US" dirty="0"/>
              <a:t>物件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4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03B3D97F-2109-4443-97BD-181FF27D9D7C}"/>
              </a:ext>
            </a:extLst>
          </p:cNvPr>
          <p:cNvSpPr/>
          <p:nvPr/>
        </p:nvSpPr>
        <p:spPr bwMode="auto">
          <a:xfrm>
            <a:off x="5257800" y="4236098"/>
            <a:ext cx="3124200" cy="152400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ranch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743564BA-A2E5-4987-AA36-0A5F4159022E}"/>
              </a:ext>
            </a:extLst>
          </p:cNvPr>
          <p:cNvSpPr/>
          <p:nvPr/>
        </p:nvSpPr>
        <p:spPr bwMode="auto">
          <a:xfrm>
            <a:off x="5257800" y="1721498"/>
            <a:ext cx="3124200" cy="1524000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5" name="流程圖: 替代程序 24">
            <a:extLst>
              <a:ext uri="{FF2B5EF4-FFF2-40B4-BE49-F238E27FC236}">
                <a16:creationId xmlns:a16="http://schemas.microsoft.com/office/drawing/2014/main" id="{158973E8-9B6E-4ABD-A954-4F854693D1A7}"/>
              </a:ext>
            </a:extLst>
          </p:cNvPr>
          <p:cNvSpPr/>
          <p:nvPr/>
        </p:nvSpPr>
        <p:spPr bwMode="auto">
          <a:xfrm>
            <a:off x="823452" y="4236098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5094A704-782D-483D-A75B-D2937FB6A353}"/>
              </a:ext>
            </a:extLst>
          </p:cNvPr>
          <p:cNvSpPr/>
          <p:nvPr/>
        </p:nvSpPr>
        <p:spPr bwMode="auto">
          <a:xfrm>
            <a:off x="727587" y="1672763"/>
            <a:ext cx="3124200" cy="1524000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ag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126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7B5133E8-DB12-4186-A73D-F1E9FFBE6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7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911CBDA1-70C0-448F-A7EB-04FE2F168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015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FEBF41C5-0617-4425-9787-6002F0344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299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A40BBBCD-002D-4C51-BC61-DC3614C4F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88D4350E-D195-42BB-83B6-5AB9155A9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5091" y="500479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D7CE48B8-2E95-4FCC-B312-5E1505168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986" y="505850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D5491D46-3EAE-46BA-B693-1F91A1289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8216" y="2942516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6715090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圖片 10">
            <a:extLst>
              <a:ext uri="{FF2B5EF4-FFF2-40B4-BE49-F238E27FC236}">
                <a16:creationId xmlns:a16="http://schemas.microsoft.com/office/drawing/2014/main" id="{8E956F94-87FD-4EBD-A2FF-70524AC507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62" y="3612881"/>
            <a:ext cx="2554839" cy="2705124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F6921F29-38E2-4801-825D-5CF7CD3AF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6112" y="3293806"/>
            <a:ext cx="5838825" cy="3343275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86476962-087F-49B8-ABDD-380583BD4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062" y="183814"/>
            <a:ext cx="6524625" cy="2733675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AF5D8D-6820-400B-B44D-B9F6DFEDD1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5</a:t>
            </a:fld>
            <a:endParaRPr lang="en-US" altLang="zh-TW" dirty="0"/>
          </a:p>
        </p:txBody>
      </p: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BAD5549D-AA22-4677-A84A-E25C3DC55E2A}"/>
              </a:ext>
            </a:extLst>
          </p:cNvPr>
          <p:cNvGrpSpPr/>
          <p:nvPr/>
        </p:nvGrpSpPr>
        <p:grpSpPr>
          <a:xfrm>
            <a:off x="-424861" y="18549"/>
            <a:ext cx="4996860" cy="3972721"/>
            <a:chOff x="-424861" y="18549"/>
            <a:chExt cx="4996860" cy="3972721"/>
          </a:xfrm>
        </p:grpSpPr>
        <p:pic>
          <p:nvPicPr>
            <p:cNvPr id="7" name="圖片 6">
              <a:extLst>
                <a:ext uri="{FF2B5EF4-FFF2-40B4-BE49-F238E27FC236}">
                  <a16:creationId xmlns:a16="http://schemas.microsoft.com/office/drawing/2014/main" id="{3E3C1116-0DA1-48F0-A9B0-52B442BC82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6">
                  <a:shade val="45000"/>
                  <a:satMod val="135000"/>
                </a:schemeClr>
                <a:prstClr val="white"/>
              </a:duotone>
              <a:alphaModFix amt="5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-424861" y="18549"/>
              <a:ext cx="4143375" cy="3457575"/>
            </a:xfrm>
            <a:prstGeom prst="rect">
              <a:avLst/>
            </a:prstGeom>
          </p:spPr>
        </p:pic>
        <p:pic>
          <p:nvPicPr>
            <p:cNvPr id="24582" name="Picture 6" descr="ãgit logoãçåçæå°çµæ">
              <a:extLst>
                <a:ext uri="{FF2B5EF4-FFF2-40B4-BE49-F238E27FC236}">
                  <a16:creationId xmlns:a16="http://schemas.microsoft.com/office/drawing/2014/main" id="{5502D3AF-3376-456E-A355-1A09723C81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8513" y="2150806"/>
              <a:ext cx="838200" cy="609600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ED9DE19F-57A6-459A-A0BA-4390D466B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6">
                  <a:shade val="45000"/>
                  <a:satMod val="135000"/>
                </a:schemeClr>
                <a:prstClr val="white"/>
              </a:duotone>
              <a:alphaModFix amt="2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28624" y="533695"/>
              <a:ext cx="4143375" cy="3457575"/>
            </a:xfrm>
            <a:prstGeom prst="rect">
              <a:avLst/>
            </a:prstGeom>
          </p:spPr>
        </p:pic>
        <p:pic>
          <p:nvPicPr>
            <p:cNvPr id="18" name="圖片 17">
              <a:extLst>
                <a:ext uri="{FF2B5EF4-FFF2-40B4-BE49-F238E27FC236}">
                  <a16:creationId xmlns:a16="http://schemas.microsoft.com/office/drawing/2014/main" id="{7587C3B3-31CB-41BD-A790-B71D3A2CC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6">
                  <a:shade val="45000"/>
                  <a:satMod val="135000"/>
                </a:schemeClr>
                <a:prstClr val="white"/>
              </a:duotone>
              <a:alphaModFix amt="2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-88490" y="258030"/>
              <a:ext cx="4143375" cy="3457575"/>
            </a:xfrm>
            <a:prstGeom prst="rect">
              <a:avLst/>
            </a:prstGeom>
          </p:spPr>
        </p:pic>
      </p:grpSp>
      <p:pic>
        <p:nvPicPr>
          <p:cNvPr id="10" name="圖片 9">
            <a:extLst>
              <a:ext uri="{FF2B5EF4-FFF2-40B4-BE49-F238E27FC236}">
                <a16:creationId xmlns:a16="http://schemas.microsoft.com/office/drawing/2014/main" id="{D9B4548F-0E37-4C51-9471-37B1394BCC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1225" y="46685"/>
            <a:ext cx="3152775" cy="2123786"/>
          </a:xfrm>
          <a:prstGeom prst="rect">
            <a:avLst/>
          </a:prstGeom>
        </p:spPr>
      </p:pic>
      <p:grpSp>
        <p:nvGrpSpPr>
          <p:cNvPr id="14" name="群組 13">
            <a:extLst>
              <a:ext uri="{FF2B5EF4-FFF2-40B4-BE49-F238E27FC236}">
                <a16:creationId xmlns:a16="http://schemas.microsoft.com/office/drawing/2014/main" id="{936DB0F9-C3C9-41F2-AE53-EA14B35E5E25}"/>
              </a:ext>
            </a:extLst>
          </p:cNvPr>
          <p:cNvGrpSpPr/>
          <p:nvPr/>
        </p:nvGrpSpPr>
        <p:grpSpPr>
          <a:xfrm>
            <a:off x="911775" y="1599278"/>
            <a:ext cx="4143375" cy="3457575"/>
            <a:chOff x="5615614" y="1655927"/>
            <a:chExt cx="4143375" cy="3457575"/>
          </a:xfrm>
        </p:grpSpPr>
        <p:pic>
          <p:nvPicPr>
            <p:cNvPr id="15" name="圖片 14">
              <a:extLst>
                <a:ext uri="{FF2B5EF4-FFF2-40B4-BE49-F238E27FC236}">
                  <a16:creationId xmlns:a16="http://schemas.microsoft.com/office/drawing/2014/main" id="{F6AE81A8-32B1-4950-84A4-E70B25D2F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615614" y="1655927"/>
              <a:ext cx="4143375" cy="3457575"/>
            </a:xfrm>
            <a:prstGeom prst="rect">
              <a:avLst/>
            </a:prstGeom>
          </p:spPr>
        </p:pic>
        <p:pic>
          <p:nvPicPr>
            <p:cNvPr id="16" name="Picture 6" descr="ãgit logoãçåçæå°çµæ">
              <a:extLst>
                <a:ext uri="{FF2B5EF4-FFF2-40B4-BE49-F238E27FC236}">
                  <a16:creationId xmlns:a16="http://schemas.microsoft.com/office/drawing/2014/main" id="{675F1B86-1067-492B-8221-1D1EC4AB49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4502" y="2241715"/>
              <a:ext cx="838200" cy="609600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795474532"/>
      </p:ext>
    </p:extLst>
  </p:cSld>
  <p:clrMapOvr>
    <a:masterClrMapping/>
  </p:clrMapOvr>
  <p:transition spd="slow">
    <p:zoom dir="in"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檔案還原的幾種指令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6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dirty="0">
                <a:solidFill>
                  <a:schemeClr val="tx1"/>
                </a:solidFill>
              </a:rPr>
              <a:t>restore</a:t>
            </a:r>
          </a:p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dirty="0">
                <a:solidFill>
                  <a:schemeClr val="tx1"/>
                </a:solidFill>
              </a:rPr>
              <a:t>reset</a:t>
            </a:r>
          </a:p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dirty="0">
                <a:solidFill>
                  <a:schemeClr val="tx1"/>
                </a:solidFill>
              </a:rPr>
              <a:t>revert</a:t>
            </a:r>
          </a:p>
          <a:p>
            <a:endParaRPr lang="zh-TW" altLang="en-US" sz="2800" dirty="0">
              <a:solidFill>
                <a:schemeClr val="tx1"/>
              </a:solidFill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0267BAA5-2C4B-436B-B110-E07D3D1C7F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2300617"/>
            <a:ext cx="2676525" cy="270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113608"/>
      </p:ext>
    </p:extLst>
  </p:cSld>
  <p:clrMapOvr>
    <a:masterClrMapping/>
  </p:clrMapOvr>
  <p:transition spd="slow">
    <p:zoom dir="in"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說明</a:t>
            </a:r>
            <a:r>
              <a:rPr lang="en-US" altLang="zh-TW" dirty="0"/>
              <a:t>git restore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7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7495"/>
            <a:ext cx="8077200" cy="4525963"/>
          </a:xfrm>
        </p:spPr>
        <p:txBody>
          <a:bodyPr/>
          <a:lstStyle/>
          <a:p>
            <a:pPr marL="0" indent="0">
              <a:buNone/>
            </a:pPr>
            <a:endParaRPr lang="en-US" altLang="zh-TW" sz="2800" dirty="0"/>
          </a:p>
          <a:p>
            <a:pPr marL="0" indent="0">
              <a:buNone/>
            </a:pPr>
            <a:endParaRPr lang="en-US" altLang="zh-TW" sz="2800" dirty="0"/>
          </a:p>
          <a:p>
            <a:r>
              <a:rPr lang="zh-TW" altLang="en-US" sz="2800" dirty="0"/>
              <a:t>放棄正在修改中，但尚未</a:t>
            </a:r>
            <a:r>
              <a:rPr lang="en-US" altLang="zh-TW" sz="2800" dirty="0"/>
              <a:t>commit</a:t>
            </a:r>
            <a:r>
              <a:rPr lang="zh-TW" altLang="en-US" sz="2800" dirty="0"/>
              <a:t>的檔案</a:t>
            </a:r>
            <a:endParaRPr lang="en-US" altLang="zh-TW" sz="2800" dirty="0"/>
          </a:p>
          <a:p>
            <a:endParaRPr lang="en-US" altLang="zh-TW" sz="2800" dirty="0"/>
          </a:p>
          <a:p>
            <a:endParaRPr lang="zh-TW" altLang="en-US" sz="2800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61031B8-D2FF-42B7-9F4F-A1970042F424}"/>
              </a:ext>
            </a:extLst>
          </p:cNvPr>
          <p:cNvSpPr/>
          <p:nvPr/>
        </p:nvSpPr>
        <p:spPr bwMode="auto">
          <a:xfrm>
            <a:off x="1638300" y="3886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restore</a:t>
            </a:r>
            <a:r>
              <a:rPr kumimoji="0" lang="en-US" altLang="zh-TW" sz="18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 </a:t>
            </a:r>
            <a:r>
              <a:rPr kumimoji="0" lang="en-US" altLang="zh-TW" sz="1800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file_name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73642670"/>
      </p:ext>
    </p:extLst>
  </p:cSld>
  <p:clrMapOvr>
    <a:masterClrMapping/>
  </p:clrMapOvr>
  <p:transition spd="slow">
    <p:zoom dir="in"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檔案還原的幾種指令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8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strike="sngStrike" dirty="0">
                <a:solidFill>
                  <a:schemeClr val="bg1">
                    <a:lumMod val="75000"/>
                  </a:schemeClr>
                </a:solidFill>
              </a:rPr>
              <a:t>restore</a:t>
            </a:r>
          </a:p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dirty="0">
                <a:solidFill>
                  <a:schemeClr val="tx1"/>
                </a:solidFill>
              </a:rPr>
              <a:t>reset</a:t>
            </a:r>
          </a:p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dirty="0">
                <a:solidFill>
                  <a:schemeClr val="tx1"/>
                </a:solidFill>
              </a:rPr>
              <a:t>revert</a:t>
            </a:r>
          </a:p>
          <a:p>
            <a:endParaRPr lang="zh-TW" altLang="en-US" sz="2800" dirty="0">
              <a:solidFill>
                <a:schemeClr val="tx1"/>
              </a:solidFill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0267BAA5-2C4B-436B-B110-E07D3D1C7F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2300617"/>
            <a:ext cx="2676525" cy="270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149897"/>
      </p:ext>
    </p:extLst>
  </p:cSld>
  <p:clrMapOvr>
    <a:masterClrMapping/>
  </p:clrMapOvr>
  <p:transition spd="slow">
    <p:zoom dir="in"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rese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9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C6269D2D-828D-4016-963C-DE3A3EE67271}"/>
              </a:ext>
            </a:extLst>
          </p:cNvPr>
          <p:cNvSpPr/>
          <p:nvPr/>
        </p:nvSpPr>
        <p:spPr bwMode="auto">
          <a:xfrm>
            <a:off x="6858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E4087651-EB7C-489A-A03B-168C8FFA7C4A}"/>
              </a:ext>
            </a:extLst>
          </p:cNvPr>
          <p:cNvGrpSpPr/>
          <p:nvPr/>
        </p:nvGrpSpPr>
        <p:grpSpPr>
          <a:xfrm>
            <a:off x="6469180" y="2598712"/>
            <a:ext cx="1455620" cy="633631"/>
            <a:chOff x="829006" y="2574967"/>
            <a:chExt cx="1455620" cy="633631"/>
          </a:xfrm>
        </p:grpSpPr>
        <p:sp>
          <p:nvSpPr>
            <p:cNvPr id="9" name="流程圖: 替代程序 8">
              <a:extLst>
                <a:ext uri="{FF2B5EF4-FFF2-40B4-BE49-F238E27FC236}">
                  <a16:creationId xmlns:a16="http://schemas.microsoft.com/office/drawing/2014/main" id="{27FB06EC-B1BB-4260-A1E7-5AB4C950DBBC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1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8A9C8B3E-0DD5-4F2C-B598-F310A0A49A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5711DEE4-E39D-4B0B-90E2-14E7FC37996F}"/>
              </a:ext>
            </a:extLst>
          </p:cNvPr>
          <p:cNvGrpSpPr/>
          <p:nvPr/>
        </p:nvGrpSpPr>
        <p:grpSpPr>
          <a:xfrm>
            <a:off x="6476555" y="3629321"/>
            <a:ext cx="1445787" cy="633630"/>
            <a:chOff x="836381" y="3605576"/>
            <a:chExt cx="1445787" cy="633630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2AD3F663-165A-4AC9-97D4-97EE66DD9A0C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E165E36-3882-48E1-939F-9B53C203DA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ED841FF6-34C1-44C4-BB88-CF304759638F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log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1AAA8AA7-CB17-486F-86ED-9D2630891590}"/>
              </a:ext>
            </a:extLst>
          </p:cNvPr>
          <p:cNvSpPr/>
          <p:nvPr/>
        </p:nvSpPr>
        <p:spPr bwMode="auto">
          <a:xfrm>
            <a:off x="2637758" y="1447799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9" name="流程圖: 替代程序 18">
            <a:extLst>
              <a:ext uri="{FF2B5EF4-FFF2-40B4-BE49-F238E27FC236}">
                <a16:creationId xmlns:a16="http://schemas.microsoft.com/office/drawing/2014/main" id="{E1058323-7D05-483C-A482-B4FDE190BFF9}"/>
              </a:ext>
            </a:extLst>
          </p:cNvPr>
          <p:cNvSpPr/>
          <p:nvPr/>
        </p:nvSpPr>
        <p:spPr bwMode="auto">
          <a:xfrm>
            <a:off x="4586172" y="142435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0" name="流程圖: 替代程序 19">
            <a:extLst>
              <a:ext uri="{FF2B5EF4-FFF2-40B4-BE49-F238E27FC236}">
                <a16:creationId xmlns:a16="http://schemas.microsoft.com/office/drawing/2014/main" id="{6704CD19-74EF-400A-9847-2E1DD4B4BD6F}"/>
              </a:ext>
            </a:extLst>
          </p:cNvPr>
          <p:cNvSpPr/>
          <p:nvPr/>
        </p:nvSpPr>
        <p:spPr bwMode="auto">
          <a:xfrm>
            <a:off x="6541673" y="142435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箭號: 向右 20">
            <a:extLst>
              <a:ext uri="{FF2B5EF4-FFF2-40B4-BE49-F238E27FC236}">
                <a16:creationId xmlns:a16="http://schemas.microsoft.com/office/drawing/2014/main" id="{1E8F4B60-4DF3-43FE-87A8-51F9EF92BFBA}"/>
              </a:ext>
            </a:extLst>
          </p:cNvPr>
          <p:cNvSpPr/>
          <p:nvPr/>
        </p:nvSpPr>
        <p:spPr bwMode="auto">
          <a:xfrm>
            <a:off x="1984743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2" name="箭號: 向右 21">
            <a:extLst>
              <a:ext uri="{FF2B5EF4-FFF2-40B4-BE49-F238E27FC236}">
                <a16:creationId xmlns:a16="http://schemas.microsoft.com/office/drawing/2014/main" id="{C8DE1B4C-8E1C-472C-9C9F-AC310FCB2AE3}"/>
              </a:ext>
            </a:extLst>
          </p:cNvPr>
          <p:cNvSpPr/>
          <p:nvPr/>
        </p:nvSpPr>
        <p:spPr bwMode="auto">
          <a:xfrm>
            <a:off x="3936701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3" name="箭號: 向右 22">
            <a:extLst>
              <a:ext uri="{FF2B5EF4-FFF2-40B4-BE49-F238E27FC236}">
                <a16:creationId xmlns:a16="http://schemas.microsoft.com/office/drawing/2014/main" id="{5F1015B5-0305-4B2B-825B-4F3C50041836}"/>
              </a:ext>
            </a:extLst>
          </p:cNvPr>
          <p:cNvSpPr/>
          <p:nvPr/>
        </p:nvSpPr>
        <p:spPr bwMode="auto">
          <a:xfrm>
            <a:off x="5885115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12008321"/>
      </p:ext>
    </p:extLst>
  </p:cSld>
  <p:clrMapOvr>
    <a:masterClrMapping/>
  </p:clrMapOvr>
  <p:transition spd="slow">
    <p:zoom dir="in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0" y="2292346"/>
            <a:ext cx="6477000" cy="1200329"/>
          </a:xfrm>
        </p:spPr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裡的</a:t>
            </a:r>
            <a:r>
              <a:rPr lang="en-US" altLang="zh-TW" dirty="0"/>
              <a:t>HEAD</a:t>
            </a:r>
            <a:r>
              <a:rPr lang="zh-TW" altLang="en-US" dirty="0"/>
              <a:t>是什麼東西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E2EAC96D-10C2-4214-92AB-D442FDBD84FB}"/>
              </a:ext>
            </a:extLst>
          </p:cNvPr>
          <p:cNvSpPr txBox="1">
            <a:spLocks/>
          </p:cNvSpPr>
          <p:nvPr/>
        </p:nvSpPr>
        <p:spPr bwMode="auto">
          <a:xfrm>
            <a:off x="1638300" y="768346"/>
            <a:ext cx="56388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zh-TW" altLang="en-US" kern="0" dirty="0"/>
              <a:t>問題二：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" name="筆跡 5">
                <a:extLst>
                  <a:ext uri="{FF2B5EF4-FFF2-40B4-BE49-F238E27FC236}">
                    <a16:creationId xmlns:a16="http://schemas.microsoft.com/office/drawing/2014/main" id="{5999DD69-2C81-4967-968C-FA7E51EBD32E}"/>
                  </a:ext>
                </a:extLst>
              </p14:cNvPr>
              <p14:cNvContentPartPr/>
              <p14:nvPr/>
            </p14:nvContentPartPr>
            <p14:xfrm>
              <a:off x="244260" y="4425780"/>
              <a:ext cx="8655480" cy="1968840"/>
            </p14:xfrm>
          </p:contentPart>
        </mc:Choice>
        <mc:Fallback xmlns="">
          <p:pic>
            <p:nvPicPr>
              <p:cNvPr id="6" name="筆跡 5">
                <a:extLst>
                  <a:ext uri="{FF2B5EF4-FFF2-40B4-BE49-F238E27FC236}">
                    <a16:creationId xmlns:a16="http://schemas.microsoft.com/office/drawing/2014/main" id="{5999DD69-2C81-4967-968C-FA7E51EBD32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4900" y="4416420"/>
                <a:ext cx="8674200" cy="198756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矩形 6">
            <a:extLst>
              <a:ext uri="{FF2B5EF4-FFF2-40B4-BE49-F238E27FC236}">
                <a16:creationId xmlns:a16="http://schemas.microsoft.com/office/drawing/2014/main" id="{FCDA1AC1-2B88-4B41-B83E-82BB18D2096A}"/>
              </a:ext>
            </a:extLst>
          </p:cNvPr>
          <p:cNvSpPr/>
          <p:nvPr/>
        </p:nvSpPr>
        <p:spPr bwMode="auto">
          <a:xfrm>
            <a:off x="2057400" y="3733800"/>
            <a:ext cx="1279740" cy="2209800"/>
          </a:xfrm>
          <a:prstGeom prst="rect">
            <a:avLst/>
          </a:prstGeom>
          <a:solidFill>
            <a:srgbClr val="FFFFCC">
              <a:alpha val="21961"/>
            </a:srgbClr>
          </a:solidFill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82871175"/>
      </p:ext>
    </p:extLst>
  </p:cSld>
  <p:clrMapOvr>
    <a:masterClrMapping/>
  </p:clrMapOvr>
  <p:transition spd="slow">
    <p:zoom dir="in"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rese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0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C6269D2D-828D-4016-963C-DE3A3EE67271}"/>
              </a:ext>
            </a:extLst>
          </p:cNvPr>
          <p:cNvSpPr/>
          <p:nvPr/>
        </p:nvSpPr>
        <p:spPr bwMode="auto">
          <a:xfrm>
            <a:off x="6858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E4087651-EB7C-489A-A03B-168C8FFA7C4A}"/>
              </a:ext>
            </a:extLst>
          </p:cNvPr>
          <p:cNvGrpSpPr/>
          <p:nvPr/>
        </p:nvGrpSpPr>
        <p:grpSpPr>
          <a:xfrm>
            <a:off x="6469180" y="2598712"/>
            <a:ext cx="1455620" cy="633631"/>
            <a:chOff x="829006" y="2574967"/>
            <a:chExt cx="1455620" cy="633631"/>
          </a:xfrm>
        </p:grpSpPr>
        <p:sp>
          <p:nvSpPr>
            <p:cNvPr id="9" name="流程圖: 替代程序 8">
              <a:extLst>
                <a:ext uri="{FF2B5EF4-FFF2-40B4-BE49-F238E27FC236}">
                  <a16:creationId xmlns:a16="http://schemas.microsoft.com/office/drawing/2014/main" id="{27FB06EC-B1BB-4260-A1E7-5AB4C950DBBC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1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8A9C8B3E-0DD5-4F2C-B598-F310A0A49A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5711DEE4-E39D-4B0B-90E2-14E7FC37996F}"/>
              </a:ext>
            </a:extLst>
          </p:cNvPr>
          <p:cNvGrpSpPr/>
          <p:nvPr/>
        </p:nvGrpSpPr>
        <p:grpSpPr>
          <a:xfrm>
            <a:off x="6476555" y="3629321"/>
            <a:ext cx="1445787" cy="633630"/>
            <a:chOff x="836381" y="3605576"/>
            <a:chExt cx="1445787" cy="633630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2AD3F663-165A-4AC9-97D4-97EE66DD9A0C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E165E36-3882-48E1-939F-9B53C203DA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ED841FF6-34C1-44C4-BB88-CF304759638F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reset head^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1AAA8AA7-CB17-486F-86ED-9D2630891590}"/>
              </a:ext>
            </a:extLst>
          </p:cNvPr>
          <p:cNvSpPr/>
          <p:nvPr/>
        </p:nvSpPr>
        <p:spPr bwMode="auto">
          <a:xfrm>
            <a:off x="2637758" y="1447799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9" name="流程圖: 替代程序 18">
            <a:extLst>
              <a:ext uri="{FF2B5EF4-FFF2-40B4-BE49-F238E27FC236}">
                <a16:creationId xmlns:a16="http://schemas.microsoft.com/office/drawing/2014/main" id="{E1058323-7D05-483C-A482-B4FDE190BFF9}"/>
              </a:ext>
            </a:extLst>
          </p:cNvPr>
          <p:cNvSpPr/>
          <p:nvPr/>
        </p:nvSpPr>
        <p:spPr bwMode="auto">
          <a:xfrm>
            <a:off x="4586172" y="142435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0" name="流程圖: 替代程序 19">
            <a:extLst>
              <a:ext uri="{FF2B5EF4-FFF2-40B4-BE49-F238E27FC236}">
                <a16:creationId xmlns:a16="http://schemas.microsoft.com/office/drawing/2014/main" id="{6704CD19-74EF-400A-9847-2E1DD4B4BD6F}"/>
              </a:ext>
            </a:extLst>
          </p:cNvPr>
          <p:cNvSpPr/>
          <p:nvPr/>
        </p:nvSpPr>
        <p:spPr bwMode="auto">
          <a:xfrm>
            <a:off x="6541673" y="142435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箭號: 向右 20">
            <a:extLst>
              <a:ext uri="{FF2B5EF4-FFF2-40B4-BE49-F238E27FC236}">
                <a16:creationId xmlns:a16="http://schemas.microsoft.com/office/drawing/2014/main" id="{1E8F4B60-4DF3-43FE-87A8-51F9EF92BFBA}"/>
              </a:ext>
            </a:extLst>
          </p:cNvPr>
          <p:cNvSpPr/>
          <p:nvPr/>
        </p:nvSpPr>
        <p:spPr bwMode="auto">
          <a:xfrm>
            <a:off x="1984743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2" name="箭號: 向右 21">
            <a:extLst>
              <a:ext uri="{FF2B5EF4-FFF2-40B4-BE49-F238E27FC236}">
                <a16:creationId xmlns:a16="http://schemas.microsoft.com/office/drawing/2014/main" id="{C8DE1B4C-8E1C-472C-9C9F-AC310FCB2AE3}"/>
              </a:ext>
            </a:extLst>
          </p:cNvPr>
          <p:cNvSpPr/>
          <p:nvPr/>
        </p:nvSpPr>
        <p:spPr bwMode="auto">
          <a:xfrm>
            <a:off x="3936701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3" name="箭號: 向右 22">
            <a:extLst>
              <a:ext uri="{FF2B5EF4-FFF2-40B4-BE49-F238E27FC236}">
                <a16:creationId xmlns:a16="http://schemas.microsoft.com/office/drawing/2014/main" id="{5F1015B5-0305-4B2B-825B-4F3C50041836}"/>
              </a:ext>
            </a:extLst>
          </p:cNvPr>
          <p:cNvSpPr/>
          <p:nvPr/>
        </p:nvSpPr>
        <p:spPr bwMode="auto">
          <a:xfrm>
            <a:off x="5885115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01525262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5.55112E-17 L -0.21198 0.0013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608" y="69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1.48148E-6 L -0.21233 0.00023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62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5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0" grpId="0" animBg="1"/>
      <p:bldP spid="23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rese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1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C6269D2D-828D-4016-963C-DE3A3EE67271}"/>
              </a:ext>
            </a:extLst>
          </p:cNvPr>
          <p:cNvSpPr/>
          <p:nvPr/>
        </p:nvSpPr>
        <p:spPr bwMode="auto">
          <a:xfrm>
            <a:off x="6858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D841FF6-34C1-44C4-BB88-CF304759638F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1AAA8AA7-CB17-486F-86ED-9D2630891590}"/>
              </a:ext>
            </a:extLst>
          </p:cNvPr>
          <p:cNvSpPr/>
          <p:nvPr/>
        </p:nvSpPr>
        <p:spPr bwMode="auto">
          <a:xfrm>
            <a:off x="2637758" y="1447799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9" name="流程圖: 替代程序 18">
            <a:extLst>
              <a:ext uri="{FF2B5EF4-FFF2-40B4-BE49-F238E27FC236}">
                <a16:creationId xmlns:a16="http://schemas.microsoft.com/office/drawing/2014/main" id="{E1058323-7D05-483C-A482-B4FDE190BFF9}"/>
              </a:ext>
            </a:extLst>
          </p:cNvPr>
          <p:cNvSpPr/>
          <p:nvPr/>
        </p:nvSpPr>
        <p:spPr bwMode="auto">
          <a:xfrm>
            <a:off x="4586172" y="142435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0" name="流程圖: 替代程序 19">
            <a:extLst>
              <a:ext uri="{FF2B5EF4-FFF2-40B4-BE49-F238E27FC236}">
                <a16:creationId xmlns:a16="http://schemas.microsoft.com/office/drawing/2014/main" id="{6704CD19-74EF-400A-9847-2E1DD4B4BD6F}"/>
              </a:ext>
            </a:extLst>
          </p:cNvPr>
          <p:cNvSpPr/>
          <p:nvPr/>
        </p:nvSpPr>
        <p:spPr bwMode="auto">
          <a:xfrm>
            <a:off x="6541673" y="1424356"/>
            <a:ext cx="1298943" cy="633631"/>
          </a:xfrm>
          <a:prstGeom prst="flowChartAlternate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箭號: 向右 20">
            <a:extLst>
              <a:ext uri="{FF2B5EF4-FFF2-40B4-BE49-F238E27FC236}">
                <a16:creationId xmlns:a16="http://schemas.microsoft.com/office/drawing/2014/main" id="{1E8F4B60-4DF3-43FE-87A8-51F9EF92BFBA}"/>
              </a:ext>
            </a:extLst>
          </p:cNvPr>
          <p:cNvSpPr/>
          <p:nvPr/>
        </p:nvSpPr>
        <p:spPr bwMode="auto">
          <a:xfrm>
            <a:off x="1984743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2" name="箭號: 向右 21">
            <a:extLst>
              <a:ext uri="{FF2B5EF4-FFF2-40B4-BE49-F238E27FC236}">
                <a16:creationId xmlns:a16="http://schemas.microsoft.com/office/drawing/2014/main" id="{C8DE1B4C-8E1C-472C-9C9F-AC310FCB2AE3}"/>
              </a:ext>
            </a:extLst>
          </p:cNvPr>
          <p:cNvSpPr/>
          <p:nvPr/>
        </p:nvSpPr>
        <p:spPr bwMode="auto">
          <a:xfrm>
            <a:off x="3936701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3" name="箭號: 向右 22">
            <a:extLst>
              <a:ext uri="{FF2B5EF4-FFF2-40B4-BE49-F238E27FC236}">
                <a16:creationId xmlns:a16="http://schemas.microsoft.com/office/drawing/2014/main" id="{5F1015B5-0305-4B2B-825B-4F3C50041836}"/>
              </a:ext>
            </a:extLst>
          </p:cNvPr>
          <p:cNvSpPr/>
          <p:nvPr/>
        </p:nvSpPr>
        <p:spPr bwMode="auto">
          <a:xfrm>
            <a:off x="5885115" y="1474471"/>
            <a:ext cx="653015" cy="533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4" name="群組 23">
            <a:extLst>
              <a:ext uri="{FF2B5EF4-FFF2-40B4-BE49-F238E27FC236}">
                <a16:creationId xmlns:a16="http://schemas.microsoft.com/office/drawing/2014/main" id="{F416F745-FFA6-47D5-A4BA-A8B56DEFE486}"/>
              </a:ext>
            </a:extLst>
          </p:cNvPr>
          <p:cNvGrpSpPr/>
          <p:nvPr/>
        </p:nvGrpSpPr>
        <p:grpSpPr>
          <a:xfrm>
            <a:off x="4419600" y="2598712"/>
            <a:ext cx="1455620" cy="633631"/>
            <a:chOff x="829006" y="2574967"/>
            <a:chExt cx="1455620" cy="633631"/>
          </a:xfrm>
        </p:grpSpPr>
        <p:sp>
          <p:nvSpPr>
            <p:cNvPr id="25" name="流程圖: 替代程序 24">
              <a:extLst>
                <a:ext uri="{FF2B5EF4-FFF2-40B4-BE49-F238E27FC236}">
                  <a16:creationId xmlns:a16="http://schemas.microsoft.com/office/drawing/2014/main" id="{FBDA96EC-60D9-48AE-B4D3-BF2BFF181142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6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86035819-7495-490E-BB31-A19748CE28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群組 26">
            <a:extLst>
              <a:ext uri="{FF2B5EF4-FFF2-40B4-BE49-F238E27FC236}">
                <a16:creationId xmlns:a16="http://schemas.microsoft.com/office/drawing/2014/main" id="{E8F6C6AC-84C0-4EE1-9255-A55A62377F46}"/>
              </a:ext>
            </a:extLst>
          </p:cNvPr>
          <p:cNvGrpSpPr/>
          <p:nvPr/>
        </p:nvGrpSpPr>
        <p:grpSpPr>
          <a:xfrm>
            <a:off x="4426975" y="3629321"/>
            <a:ext cx="1445787" cy="633630"/>
            <a:chOff x="836381" y="3605576"/>
            <a:chExt cx="1445787" cy="633630"/>
          </a:xfrm>
        </p:grpSpPr>
        <p:sp>
          <p:nvSpPr>
            <p:cNvPr id="28" name="流程圖: 替代程序 27">
              <a:extLst>
                <a:ext uri="{FF2B5EF4-FFF2-40B4-BE49-F238E27FC236}">
                  <a16:creationId xmlns:a16="http://schemas.microsoft.com/office/drawing/2014/main" id="{90198058-2184-4266-A5AA-F513E1F156B9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C358046A-1156-4CBC-9F8B-6106826E58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流程圖: 替代程序 29">
            <a:extLst>
              <a:ext uri="{FF2B5EF4-FFF2-40B4-BE49-F238E27FC236}">
                <a16:creationId xmlns:a16="http://schemas.microsoft.com/office/drawing/2014/main" id="{73387539-2784-401E-BBF3-572FBCE636D7}"/>
              </a:ext>
            </a:extLst>
          </p:cNvPr>
          <p:cNvSpPr/>
          <p:nvPr/>
        </p:nvSpPr>
        <p:spPr bwMode="auto">
          <a:xfrm>
            <a:off x="6578544" y="2604775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1" name="箭號: 向右 30">
            <a:extLst>
              <a:ext uri="{FF2B5EF4-FFF2-40B4-BE49-F238E27FC236}">
                <a16:creationId xmlns:a16="http://schemas.microsoft.com/office/drawing/2014/main" id="{64D147FF-129F-4490-A8C9-D5FDF92CBA05}"/>
              </a:ext>
            </a:extLst>
          </p:cNvPr>
          <p:cNvSpPr/>
          <p:nvPr/>
        </p:nvSpPr>
        <p:spPr bwMode="auto">
          <a:xfrm rot="2700000">
            <a:off x="5875221" y="2133523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78424019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5.55112E-17 L 0.22048 0.15046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24" y="7523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1.48148E-6 L 0.22014 0.15996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07" y="798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0" grpId="0" animBg="1"/>
      <p:bldP spid="31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說明</a:t>
            </a:r>
            <a:r>
              <a:rPr lang="en-US" altLang="zh-TW" dirty="0"/>
              <a:t>git rese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2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7495"/>
            <a:ext cx="8077200" cy="4525963"/>
          </a:xfrm>
        </p:spPr>
        <p:txBody>
          <a:bodyPr/>
          <a:lstStyle/>
          <a:p>
            <a:endParaRPr lang="en-US" altLang="zh-TW" sz="2800" dirty="0"/>
          </a:p>
          <a:p>
            <a:r>
              <a:rPr lang="zh-TW" altLang="en-US" sz="2800" dirty="0"/>
              <a:t>退一步海闊天空</a:t>
            </a:r>
            <a:endParaRPr lang="en-US" altLang="zh-TW" sz="2800" dirty="0"/>
          </a:p>
          <a:p>
            <a:endParaRPr lang="en-US" altLang="zh-TW" sz="2800" dirty="0"/>
          </a:p>
          <a:p>
            <a:r>
              <a:rPr lang="en-US" altLang="zh-TW" sz="2800" dirty="0"/>
              <a:t>^ </a:t>
            </a:r>
            <a:r>
              <a:rPr lang="zh-TW" altLang="en-US" sz="2800" dirty="0"/>
              <a:t>符號表示退一步；</a:t>
            </a:r>
            <a:r>
              <a:rPr lang="en-US" altLang="zh-TW" sz="2800" dirty="0"/>
              <a:t>^^ </a:t>
            </a:r>
            <a:r>
              <a:rPr lang="zh-TW" altLang="en-US" sz="2800" dirty="0"/>
              <a:t>退兩步</a:t>
            </a:r>
            <a:endParaRPr lang="en-US" altLang="zh-TW" sz="2800" dirty="0"/>
          </a:p>
          <a:p>
            <a:endParaRPr lang="en-US" altLang="zh-TW" sz="2800" dirty="0"/>
          </a:p>
          <a:p>
            <a:r>
              <a:rPr lang="en-US" altLang="zh-TW" sz="2800" dirty="0"/>
              <a:t>~5</a:t>
            </a:r>
            <a:r>
              <a:rPr lang="zh-TW" altLang="en-US" sz="2800" dirty="0"/>
              <a:t>退五步</a:t>
            </a:r>
            <a:endParaRPr lang="en-US" altLang="zh-TW" sz="2800" dirty="0"/>
          </a:p>
          <a:p>
            <a:endParaRPr lang="en-US" altLang="zh-TW" sz="2800" dirty="0"/>
          </a:p>
          <a:p>
            <a:r>
              <a:rPr lang="zh-TW" altLang="en-US" sz="2800" dirty="0"/>
              <a:t>可指定</a:t>
            </a:r>
            <a:r>
              <a:rPr lang="en-US" altLang="zh-TW" sz="2800" dirty="0"/>
              <a:t>commit SHA</a:t>
            </a:r>
            <a:r>
              <a:rPr lang="zh-TW" altLang="en-US" sz="2800" dirty="0"/>
              <a:t>如</a:t>
            </a:r>
            <a:br>
              <a:rPr lang="en-US" altLang="zh-TW" sz="2800" dirty="0"/>
            </a:br>
            <a:endParaRPr lang="en-US" altLang="zh-TW" sz="2800" dirty="0"/>
          </a:p>
          <a:p>
            <a:r>
              <a:rPr lang="zh-TW" altLang="en-US" sz="2800" dirty="0"/>
              <a:t>在</a:t>
            </a:r>
            <a:r>
              <a:rPr lang="en-US" altLang="zh-TW" sz="2800" dirty="0"/>
              <a:t>Windows</a:t>
            </a:r>
            <a:r>
              <a:rPr lang="zh-TW" altLang="en-US" sz="2800" dirty="0"/>
              <a:t>要用 </a:t>
            </a:r>
            <a:r>
              <a:rPr lang="en-US" altLang="zh-TW" sz="2800" dirty="0"/>
              <a:t>git reset </a:t>
            </a:r>
            <a:r>
              <a:rPr lang="en-US" altLang="zh-TW" sz="2800" dirty="0">
                <a:solidFill>
                  <a:srgbClr val="FF6600"/>
                </a:solidFill>
              </a:rPr>
              <a:t>"</a:t>
            </a:r>
            <a:r>
              <a:rPr lang="en-US" altLang="zh-TW" sz="2800" dirty="0"/>
              <a:t>HEAD^</a:t>
            </a:r>
            <a:r>
              <a:rPr lang="en-US" altLang="zh-TW" sz="2800" dirty="0">
                <a:solidFill>
                  <a:srgbClr val="FF6600"/>
                </a:solidFill>
              </a:rPr>
              <a:t>"</a:t>
            </a:r>
            <a:endParaRPr lang="en-US" altLang="zh-TW" sz="2800" dirty="0"/>
          </a:p>
          <a:p>
            <a:endParaRPr lang="zh-TW" altLang="en-US" sz="2800" dirty="0"/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E7AA689D-775A-4628-82DB-0A35C2E31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6800" y="4495800"/>
            <a:ext cx="2960781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409993"/>
      </p:ext>
    </p:extLst>
  </p:cSld>
  <p:clrMapOvr>
    <a:masterClrMapping/>
  </p:clrMapOvr>
  <p:transition spd="slow">
    <p:zoom dir="in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說明</a:t>
            </a:r>
            <a:r>
              <a:rPr lang="en-US" altLang="zh-TW" dirty="0"/>
              <a:t>git reset –</a:t>
            </a:r>
            <a:r>
              <a:rPr lang="zh-TW" altLang="en-US" dirty="0"/>
              <a:t>進階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3</a:t>
            </a:fld>
            <a:endParaRPr lang="en-US" altLang="zh-TW" dirty="0"/>
          </a:p>
        </p:txBody>
      </p:sp>
      <p:sp>
        <p:nvSpPr>
          <p:cNvPr id="9" name="流程圖: 替代程序 8">
            <a:extLst>
              <a:ext uri="{FF2B5EF4-FFF2-40B4-BE49-F238E27FC236}">
                <a16:creationId xmlns:a16="http://schemas.microsoft.com/office/drawing/2014/main" id="{4E966F5E-B5E5-4733-AB37-3817C62A47A6}"/>
              </a:ext>
            </a:extLst>
          </p:cNvPr>
          <p:cNvSpPr/>
          <p:nvPr/>
        </p:nvSpPr>
        <p:spPr bwMode="auto">
          <a:xfrm>
            <a:off x="6858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0" name="流程圖: 替代程序 9">
            <a:extLst>
              <a:ext uri="{FF2B5EF4-FFF2-40B4-BE49-F238E27FC236}">
                <a16:creationId xmlns:a16="http://schemas.microsoft.com/office/drawing/2014/main" id="{9C6C2BD4-17AA-474E-80D7-612D6A086603}"/>
              </a:ext>
            </a:extLst>
          </p:cNvPr>
          <p:cNvSpPr/>
          <p:nvPr/>
        </p:nvSpPr>
        <p:spPr bwMode="auto">
          <a:xfrm>
            <a:off x="2637758" y="1447799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1" name="流程圖: 替代程序 10">
            <a:extLst>
              <a:ext uri="{FF2B5EF4-FFF2-40B4-BE49-F238E27FC236}">
                <a16:creationId xmlns:a16="http://schemas.microsoft.com/office/drawing/2014/main" id="{EB32BCB2-52C7-4858-915C-7211932491D2}"/>
              </a:ext>
            </a:extLst>
          </p:cNvPr>
          <p:cNvSpPr/>
          <p:nvPr/>
        </p:nvSpPr>
        <p:spPr bwMode="auto">
          <a:xfrm>
            <a:off x="4586172" y="142435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2" name="流程圖: 替代程序 11">
            <a:extLst>
              <a:ext uri="{FF2B5EF4-FFF2-40B4-BE49-F238E27FC236}">
                <a16:creationId xmlns:a16="http://schemas.microsoft.com/office/drawing/2014/main" id="{ED6DF65F-4D81-4380-BECC-BE4D592948E3}"/>
              </a:ext>
            </a:extLst>
          </p:cNvPr>
          <p:cNvSpPr/>
          <p:nvPr/>
        </p:nvSpPr>
        <p:spPr bwMode="auto">
          <a:xfrm>
            <a:off x="6541673" y="1424356"/>
            <a:ext cx="1298943" cy="633631"/>
          </a:xfrm>
          <a:prstGeom prst="flowChartAlternate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3" name="箭號: 向右 12">
            <a:extLst>
              <a:ext uri="{FF2B5EF4-FFF2-40B4-BE49-F238E27FC236}">
                <a16:creationId xmlns:a16="http://schemas.microsoft.com/office/drawing/2014/main" id="{7A330420-2EF4-4242-915A-0DEF07D4F040}"/>
              </a:ext>
            </a:extLst>
          </p:cNvPr>
          <p:cNvSpPr/>
          <p:nvPr/>
        </p:nvSpPr>
        <p:spPr bwMode="auto">
          <a:xfrm>
            <a:off x="1984743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4" name="箭號: 向右 13">
            <a:extLst>
              <a:ext uri="{FF2B5EF4-FFF2-40B4-BE49-F238E27FC236}">
                <a16:creationId xmlns:a16="http://schemas.microsoft.com/office/drawing/2014/main" id="{0F45FE30-D388-4726-AF39-5BE998691DA4}"/>
              </a:ext>
            </a:extLst>
          </p:cNvPr>
          <p:cNvSpPr/>
          <p:nvPr/>
        </p:nvSpPr>
        <p:spPr bwMode="auto">
          <a:xfrm>
            <a:off x="3936701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5" name="箭號: 向右 14">
            <a:extLst>
              <a:ext uri="{FF2B5EF4-FFF2-40B4-BE49-F238E27FC236}">
                <a16:creationId xmlns:a16="http://schemas.microsoft.com/office/drawing/2014/main" id="{0D816FC8-1B15-482A-BCC4-A992D29B6078}"/>
              </a:ext>
            </a:extLst>
          </p:cNvPr>
          <p:cNvSpPr/>
          <p:nvPr/>
        </p:nvSpPr>
        <p:spPr bwMode="auto">
          <a:xfrm>
            <a:off x="5885115" y="1474471"/>
            <a:ext cx="653015" cy="533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DD96755A-AD04-498F-9EE6-32C3937C65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21770"/>
            <a:ext cx="9144000" cy="70838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9510CBBC-D27B-4CBD-9146-8C7791F6BA4A}"/>
              </a:ext>
            </a:extLst>
          </p:cNvPr>
          <p:cNvSpPr/>
          <p:nvPr/>
        </p:nvSpPr>
        <p:spPr bwMode="auto">
          <a:xfrm>
            <a:off x="685800" y="3747136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reset HEAD^1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3E443BA-D5DA-4A4E-AA02-9645AEBF08E2}"/>
              </a:ext>
            </a:extLst>
          </p:cNvPr>
          <p:cNvSpPr/>
          <p:nvPr/>
        </p:nvSpPr>
        <p:spPr bwMode="auto">
          <a:xfrm>
            <a:off x="685800" y="46167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status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1203BB0-026C-47D7-A3CE-9BAC6C721CFE}"/>
              </a:ext>
            </a:extLst>
          </p:cNvPr>
          <p:cNvSpPr/>
          <p:nvPr/>
        </p:nvSpPr>
        <p:spPr bwMode="auto">
          <a:xfrm>
            <a:off x="698201" y="5444613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diff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353381CF-4F46-41D7-855E-5C30760194AE}"/>
              </a:ext>
            </a:extLst>
          </p:cNvPr>
          <p:cNvSpPr/>
          <p:nvPr/>
        </p:nvSpPr>
        <p:spPr bwMode="auto">
          <a:xfrm>
            <a:off x="714144" y="62103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restore file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84004955"/>
      </p:ext>
    </p:extLst>
  </p:cSld>
  <p:clrMapOvr>
    <a:masterClrMapping/>
  </p:clrMapOvr>
  <p:transition spd="slow">
    <p:zoom dir="in"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檔案還原的幾種指令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4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strike="sngStrike" dirty="0">
                <a:solidFill>
                  <a:schemeClr val="bg1">
                    <a:lumMod val="75000"/>
                  </a:schemeClr>
                </a:solidFill>
              </a:rPr>
              <a:t>restore</a:t>
            </a:r>
          </a:p>
          <a:p>
            <a:endParaRPr lang="en-US" altLang="zh-TW" sz="28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altLang="zh-TW" sz="2800" strike="sngStrike" dirty="0">
                <a:solidFill>
                  <a:schemeClr val="bg1">
                    <a:lumMod val="75000"/>
                  </a:schemeClr>
                </a:solidFill>
              </a:rPr>
              <a:t>reset</a:t>
            </a:r>
          </a:p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dirty="0">
                <a:solidFill>
                  <a:schemeClr val="tx1"/>
                </a:solidFill>
              </a:rPr>
              <a:t>revert</a:t>
            </a:r>
          </a:p>
          <a:p>
            <a:pPr marL="0" indent="0">
              <a:buNone/>
            </a:pPr>
            <a:endParaRPr lang="en-US" altLang="zh-TW" sz="2800" dirty="0">
              <a:solidFill>
                <a:schemeClr val="tx1"/>
              </a:solidFill>
            </a:endParaRPr>
          </a:p>
          <a:p>
            <a:endParaRPr lang="zh-TW" altLang="en-US" sz="2800" dirty="0">
              <a:solidFill>
                <a:schemeClr val="tx1"/>
              </a:solidFill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0267BAA5-2C4B-436B-B110-E07D3D1C7F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2300617"/>
            <a:ext cx="2676525" cy="270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880545"/>
      </p:ext>
    </p:extLst>
  </p:cSld>
  <p:clrMapOvr>
    <a:masterClrMapping/>
  </p:clrMapOvr>
  <p:transition spd="slow">
    <p:zoom dir="in"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rever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5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C6269D2D-828D-4016-963C-DE3A3EE67271}"/>
              </a:ext>
            </a:extLst>
          </p:cNvPr>
          <p:cNvSpPr/>
          <p:nvPr/>
        </p:nvSpPr>
        <p:spPr bwMode="auto">
          <a:xfrm>
            <a:off x="6858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E4087651-EB7C-489A-A03B-168C8FFA7C4A}"/>
              </a:ext>
            </a:extLst>
          </p:cNvPr>
          <p:cNvGrpSpPr/>
          <p:nvPr/>
        </p:nvGrpSpPr>
        <p:grpSpPr>
          <a:xfrm>
            <a:off x="2564045" y="2598712"/>
            <a:ext cx="1455620" cy="633631"/>
            <a:chOff x="829006" y="2574967"/>
            <a:chExt cx="1455620" cy="633631"/>
          </a:xfrm>
        </p:grpSpPr>
        <p:sp>
          <p:nvSpPr>
            <p:cNvPr id="9" name="流程圖: 替代程序 8">
              <a:extLst>
                <a:ext uri="{FF2B5EF4-FFF2-40B4-BE49-F238E27FC236}">
                  <a16:creationId xmlns:a16="http://schemas.microsoft.com/office/drawing/2014/main" id="{27FB06EC-B1BB-4260-A1E7-5AB4C950DBBC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1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8A9C8B3E-0DD5-4F2C-B598-F310A0A49A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5711DEE4-E39D-4B0B-90E2-14E7FC37996F}"/>
              </a:ext>
            </a:extLst>
          </p:cNvPr>
          <p:cNvGrpSpPr/>
          <p:nvPr/>
        </p:nvGrpSpPr>
        <p:grpSpPr>
          <a:xfrm>
            <a:off x="2571420" y="3629321"/>
            <a:ext cx="1445787" cy="633630"/>
            <a:chOff x="836381" y="3605576"/>
            <a:chExt cx="1445787" cy="633630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2AD3F663-165A-4AC9-97D4-97EE66DD9A0C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E165E36-3882-48E1-939F-9B53C203DA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ED841FF6-34C1-44C4-BB88-CF304759638F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log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1AAA8AA7-CB17-486F-86ED-9D2630891590}"/>
              </a:ext>
            </a:extLst>
          </p:cNvPr>
          <p:cNvSpPr/>
          <p:nvPr/>
        </p:nvSpPr>
        <p:spPr bwMode="auto">
          <a:xfrm>
            <a:off x="2637758" y="1447799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箭號: 向右 20">
            <a:extLst>
              <a:ext uri="{FF2B5EF4-FFF2-40B4-BE49-F238E27FC236}">
                <a16:creationId xmlns:a16="http://schemas.microsoft.com/office/drawing/2014/main" id="{1E8F4B60-4DF3-43FE-87A8-51F9EF92BFBA}"/>
              </a:ext>
            </a:extLst>
          </p:cNvPr>
          <p:cNvSpPr/>
          <p:nvPr/>
        </p:nvSpPr>
        <p:spPr bwMode="auto">
          <a:xfrm>
            <a:off x="1984743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29636478"/>
      </p:ext>
    </p:extLst>
  </p:cSld>
  <p:clrMapOvr>
    <a:masterClrMapping/>
  </p:clrMapOvr>
  <p:transition spd="slow">
    <p:zoom dir="in"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rever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6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C6269D2D-828D-4016-963C-DE3A3EE67271}"/>
              </a:ext>
            </a:extLst>
          </p:cNvPr>
          <p:cNvSpPr/>
          <p:nvPr/>
        </p:nvSpPr>
        <p:spPr bwMode="auto">
          <a:xfrm>
            <a:off x="685800" y="1447800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E4087651-EB7C-489A-A03B-168C8FFA7C4A}"/>
              </a:ext>
            </a:extLst>
          </p:cNvPr>
          <p:cNvGrpSpPr/>
          <p:nvPr/>
        </p:nvGrpSpPr>
        <p:grpSpPr>
          <a:xfrm>
            <a:off x="2564045" y="2598712"/>
            <a:ext cx="1455620" cy="633631"/>
            <a:chOff x="829006" y="2574967"/>
            <a:chExt cx="1455620" cy="633631"/>
          </a:xfrm>
        </p:grpSpPr>
        <p:sp>
          <p:nvSpPr>
            <p:cNvPr id="9" name="流程圖: 替代程序 8">
              <a:extLst>
                <a:ext uri="{FF2B5EF4-FFF2-40B4-BE49-F238E27FC236}">
                  <a16:creationId xmlns:a16="http://schemas.microsoft.com/office/drawing/2014/main" id="{27FB06EC-B1BB-4260-A1E7-5AB4C950DBBC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1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8A9C8B3E-0DD5-4F2C-B598-F310A0A49A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5711DEE4-E39D-4B0B-90E2-14E7FC37996F}"/>
              </a:ext>
            </a:extLst>
          </p:cNvPr>
          <p:cNvGrpSpPr/>
          <p:nvPr/>
        </p:nvGrpSpPr>
        <p:grpSpPr>
          <a:xfrm>
            <a:off x="2571420" y="3629321"/>
            <a:ext cx="1445787" cy="633630"/>
            <a:chOff x="836381" y="3605576"/>
            <a:chExt cx="1445787" cy="633630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2AD3F663-165A-4AC9-97D4-97EE66DD9A0C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Brunch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E165E36-3882-48E1-939F-9B53C203DA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ED841FF6-34C1-44C4-BB88-CF304759638F}"/>
              </a:ext>
            </a:extLst>
          </p:cNvPr>
          <p:cNvSpPr/>
          <p:nvPr/>
        </p:nvSpPr>
        <p:spPr bwMode="auto">
          <a:xfrm>
            <a:off x="1447800" y="5804168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revert HEAD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8" name="流程圖: 替代程序 17">
            <a:extLst>
              <a:ext uri="{FF2B5EF4-FFF2-40B4-BE49-F238E27FC236}">
                <a16:creationId xmlns:a16="http://schemas.microsoft.com/office/drawing/2014/main" id="{1AAA8AA7-CB17-486F-86ED-9D2630891590}"/>
              </a:ext>
            </a:extLst>
          </p:cNvPr>
          <p:cNvSpPr/>
          <p:nvPr/>
        </p:nvSpPr>
        <p:spPr bwMode="auto">
          <a:xfrm>
            <a:off x="2637758" y="1447799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1" name="箭號: 向右 20">
            <a:extLst>
              <a:ext uri="{FF2B5EF4-FFF2-40B4-BE49-F238E27FC236}">
                <a16:creationId xmlns:a16="http://schemas.microsoft.com/office/drawing/2014/main" id="{1E8F4B60-4DF3-43FE-87A8-51F9EF92BFBA}"/>
              </a:ext>
            </a:extLst>
          </p:cNvPr>
          <p:cNvSpPr/>
          <p:nvPr/>
        </p:nvSpPr>
        <p:spPr bwMode="auto">
          <a:xfrm>
            <a:off x="1984743" y="1474471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5" name="箭號: 向右 14">
            <a:extLst>
              <a:ext uri="{FF2B5EF4-FFF2-40B4-BE49-F238E27FC236}">
                <a16:creationId xmlns:a16="http://schemas.microsoft.com/office/drawing/2014/main" id="{B0F5D121-1482-4D9F-BD8A-D5F81F5844D3}"/>
              </a:ext>
            </a:extLst>
          </p:cNvPr>
          <p:cNvSpPr/>
          <p:nvPr/>
        </p:nvSpPr>
        <p:spPr bwMode="auto">
          <a:xfrm>
            <a:off x="3936701" y="1504589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流程圖: 替代程序 15">
            <a:extLst>
              <a:ext uri="{FF2B5EF4-FFF2-40B4-BE49-F238E27FC236}">
                <a16:creationId xmlns:a16="http://schemas.microsoft.com/office/drawing/2014/main" id="{A53A2E49-47FC-4179-8EE4-AE28B3668EB3}"/>
              </a:ext>
            </a:extLst>
          </p:cNvPr>
          <p:cNvSpPr/>
          <p:nvPr/>
        </p:nvSpPr>
        <p:spPr bwMode="auto">
          <a:xfrm>
            <a:off x="4586172" y="1461813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35651699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5.55112E-17 L 0.2151 0.0013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747" y="69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1.48148E-6 L 0.21476 -0.00602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729" y="-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1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/>
      <p:bldP spid="16" grpId="0" animBg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說明</a:t>
            </a:r>
            <a:r>
              <a:rPr lang="en-US" altLang="zh-TW" dirty="0"/>
              <a:t>git rever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7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7495"/>
            <a:ext cx="8077200" cy="4525963"/>
          </a:xfrm>
        </p:spPr>
        <p:txBody>
          <a:bodyPr/>
          <a:lstStyle/>
          <a:p>
            <a:endParaRPr lang="en-US" altLang="zh-TW" sz="2800" dirty="0"/>
          </a:p>
          <a:p>
            <a:r>
              <a:rPr lang="zh-TW" altLang="en-US" sz="2800" dirty="0"/>
              <a:t>保留</a:t>
            </a:r>
            <a:r>
              <a:rPr lang="en-US" altLang="zh-TW" sz="2800" dirty="0"/>
              <a:t>git log</a:t>
            </a:r>
          </a:p>
          <a:p>
            <a:endParaRPr lang="en-US" altLang="zh-TW" sz="2800" dirty="0"/>
          </a:p>
          <a:p>
            <a:r>
              <a:rPr lang="zh-TW" altLang="en-US" sz="2800" dirty="0"/>
              <a:t>多人協作專案，版本策略</a:t>
            </a:r>
            <a:endParaRPr lang="en-US" altLang="zh-TW" sz="2800" dirty="0"/>
          </a:p>
          <a:p>
            <a:endParaRPr lang="en-US" altLang="zh-TW" sz="2800" dirty="0"/>
          </a:p>
          <a:p>
            <a:endParaRPr lang="zh-TW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393838012"/>
      </p:ext>
    </p:extLst>
  </p:cSld>
  <p:clrMapOvr>
    <a:masterClrMapping/>
  </p:clrMapOvr>
  <p:transition spd="slow">
    <p:zoom dir="in"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檔案還原的幾種指令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8</a:t>
            </a:fld>
            <a:endParaRPr lang="en-US" altLang="zh-TW" dirty="0"/>
          </a:p>
        </p:txBody>
      </p:sp>
      <p:sp>
        <p:nvSpPr>
          <p:cNvPr id="16" name="內容版面配置區 1">
            <a:extLst>
              <a:ext uri="{FF2B5EF4-FFF2-40B4-BE49-F238E27FC236}">
                <a16:creationId xmlns:a16="http://schemas.microsoft.com/office/drawing/2014/main" id="{05A1C61A-5409-4092-96ED-FED709664B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7794"/>
            <a:ext cx="8077200" cy="4525963"/>
          </a:xfrm>
        </p:spPr>
        <p:txBody>
          <a:bodyPr/>
          <a:lstStyle/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strike="sngStrike" dirty="0">
                <a:solidFill>
                  <a:schemeClr val="bg1">
                    <a:lumMod val="75000"/>
                  </a:schemeClr>
                </a:solidFill>
              </a:rPr>
              <a:t>restore</a:t>
            </a:r>
          </a:p>
          <a:p>
            <a:endParaRPr lang="en-US" altLang="zh-TW" sz="28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altLang="zh-TW" sz="2800" strike="sngStrike" dirty="0">
                <a:solidFill>
                  <a:schemeClr val="bg1">
                    <a:lumMod val="75000"/>
                  </a:schemeClr>
                </a:solidFill>
              </a:rPr>
              <a:t>reset</a:t>
            </a:r>
          </a:p>
          <a:p>
            <a:endParaRPr lang="en-US" altLang="zh-TW" sz="2800" dirty="0">
              <a:solidFill>
                <a:schemeClr val="tx1"/>
              </a:solidFill>
            </a:endParaRPr>
          </a:p>
          <a:p>
            <a:r>
              <a:rPr lang="en-US" altLang="zh-TW" sz="2800" strike="sngStrike" dirty="0">
                <a:solidFill>
                  <a:schemeClr val="bg1">
                    <a:lumMod val="75000"/>
                  </a:schemeClr>
                </a:solidFill>
              </a:rPr>
              <a:t>revert</a:t>
            </a:r>
            <a:endParaRPr lang="en-US" altLang="zh-TW" sz="2800" dirty="0">
              <a:solidFill>
                <a:schemeClr val="tx1"/>
              </a:solidFill>
            </a:endParaRPr>
          </a:p>
          <a:p>
            <a:endParaRPr lang="zh-TW" alt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966040"/>
      </p:ext>
    </p:extLst>
  </p:cSld>
  <p:clrMapOvr>
    <a:masterClrMapping/>
  </p:clrMapOvr>
  <p:transition spd="slow">
    <p:zoom dir="in"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四大</a:t>
            </a:r>
            <a:r>
              <a:rPr lang="zh-TW" altLang="en-US" dirty="0">
                <a:solidFill>
                  <a:srgbClr val="FF0000"/>
                </a:solidFill>
              </a:rPr>
              <a:t>指標</a:t>
            </a:r>
            <a:r>
              <a:rPr lang="zh-TW" altLang="en-US" dirty="0"/>
              <a:t>物件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9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03B3D97F-2109-4443-97BD-181FF27D9D7C}"/>
              </a:ext>
            </a:extLst>
          </p:cNvPr>
          <p:cNvSpPr/>
          <p:nvPr/>
        </p:nvSpPr>
        <p:spPr bwMode="auto">
          <a:xfrm>
            <a:off x="5257800" y="4236098"/>
            <a:ext cx="3124200" cy="152400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runch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743564BA-A2E5-4987-AA36-0A5F4159022E}"/>
              </a:ext>
            </a:extLst>
          </p:cNvPr>
          <p:cNvSpPr/>
          <p:nvPr/>
        </p:nvSpPr>
        <p:spPr bwMode="auto">
          <a:xfrm>
            <a:off x="5257800" y="1721498"/>
            <a:ext cx="3124200" cy="1524000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5" name="流程圖: 替代程序 24">
            <a:extLst>
              <a:ext uri="{FF2B5EF4-FFF2-40B4-BE49-F238E27FC236}">
                <a16:creationId xmlns:a16="http://schemas.microsoft.com/office/drawing/2014/main" id="{158973E8-9B6E-4ABD-A954-4F854693D1A7}"/>
              </a:ext>
            </a:extLst>
          </p:cNvPr>
          <p:cNvSpPr/>
          <p:nvPr/>
        </p:nvSpPr>
        <p:spPr bwMode="auto">
          <a:xfrm>
            <a:off x="823452" y="4236098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5094A704-782D-483D-A75B-D2937FB6A353}"/>
              </a:ext>
            </a:extLst>
          </p:cNvPr>
          <p:cNvSpPr/>
          <p:nvPr/>
        </p:nvSpPr>
        <p:spPr bwMode="auto">
          <a:xfrm>
            <a:off x="727587" y="1672763"/>
            <a:ext cx="3124200" cy="1524000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ag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126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7B5133E8-DB12-4186-A73D-F1E9FFBE6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7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911CBDA1-70C0-448F-A7EB-04FE2F168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015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FEBF41C5-0617-4425-9787-6002F0344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299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A40BBBCD-002D-4C51-BC61-DC3614C4F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88D4350E-D195-42BB-83B6-5AB9155A9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5091" y="500479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D7CE48B8-2E95-4FCC-B312-5E1505168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986" y="505850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D5491D46-3EAE-46BA-B693-1F91A1289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8216" y="2942516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005458"/>
      </p:ext>
    </p:extLst>
  </p:cSld>
  <p:clrMapOvr>
    <a:masterClrMapping/>
  </p:clrMapOvr>
  <p:transition spd="slow">
    <p:zoom dir="in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362200"/>
            <a:ext cx="6477000" cy="646331"/>
          </a:xfrm>
        </p:spPr>
        <p:txBody>
          <a:bodyPr/>
          <a:lstStyle/>
          <a:p>
            <a:r>
              <a:rPr lang="en-US" altLang="zh-TW" dirty="0"/>
              <a:t>merge</a:t>
            </a:r>
            <a:r>
              <a:rPr lang="zh-TW" altLang="en-US" dirty="0"/>
              <a:t>和</a:t>
            </a:r>
            <a:r>
              <a:rPr lang="en-US" altLang="zh-TW" dirty="0"/>
              <a:t>rebase</a:t>
            </a:r>
            <a:r>
              <a:rPr lang="zh-TW" altLang="en-US" dirty="0"/>
              <a:t>有何不同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8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E2EAC96D-10C2-4214-92AB-D442FDBD84FB}"/>
              </a:ext>
            </a:extLst>
          </p:cNvPr>
          <p:cNvSpPr txBox="1">
            <a:spLocks/>
          </p:cNvSpPr>
          <p:nvPr/>
        </p:nvSpPr>
        <p:spPr bwMode="auto">
          <a:xfrm>
            <a:off x="1524000" y="838200"/>
            <a:ext cx="56388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zh-TW" altLang="en-US" kern="0" dirty="0"/>
              <a:t>問題三：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" name="筆跡 5">
                <a:extLst>
                  <a:ext uri="{FF2B5EF4-FFF2-40B4-BE49-F238E27FC236}">
                    <a16:creationId xmlns:a16="http://schemas.microsoft.com/office/drawing/2014/main" id="{1C0623C9-A520-4F8A-B2D3-7FA7AA80C2EB}"/>
                  </a:ext>
                </a:extLst>
              </p14:cNvPr>
              <p14:cNvContentPartPr/>
              <p14:nvPr/>
            </p14:nvContentPartPr>
            <p14:xfrm>
              <a:off x="244260" y="4425780"/>
              <a:ext cx="8655480" cy="1968840"/>
            </p14:xfrm>
          </p:contentPart>
        </mc:Choice>
        <mc:Fallback xmlns="">
          <p:pic>
            <p:nvPicPr>
              <p:cNvPr id="6" name="筆跡 5">
                <a:extLst>
                  <a:ext uri="{FF2B5EF4-FFF2-40B4-BE49-F238E27FC236}">
                    <a16:creationId xmlns:a16="http://schemas.microsoft.com/office/drawing/2014/main" id="{1C0623C9-A520-4F8A-B2D3-7FA7AA80C2EB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34900" y="4416420"/>
                <a:ext cx="8674200" cy="198756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矩形 6">
            <a:extLst>
              <a:ext uri="{FF2B5EF4-FFF2-40B4-BE49-F238E27FC236}">
                <a16:creationId xmlns:a16="http://schemas.microsoft.com/office/drawing/2014/main" id="{64B007AF-6A61-4655-8CB7-87AAF3210C94}"/>
              </a:ext>
            </a:extLst>
          </p:cNvPr>
          <p:cNvSpPr/>
          <p:nvPr/>
        </p:nvSpPr>
        <p:spPr bwMode="auto">
          <a:xfrm>
            <a:off x="5638800" y="4038600"/>
            <a:ext cx="1279740" cy="2209800"/>
          </a:xfrm>
          <a:prstGeom prst="rect">
            <a:avLst/>
          </a:prstGeom>
          <a:solidFill>
            <a:srgbClr val="FFFFCC">
              <a:alpha val="21961"/>
            </a:srgbClr>
          </a:solidFill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32699598"/>
      </p:ext>
    </p:extLst>
  </p:cSld>
  <p:clrMapOvr>
    <a:masterClrMapping/>
  </p:clrMapOvr>
  <p:transition spd="slow">
    <p:zoom dir="in"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          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39213213"/>
      </p:ext>
    </p:extLst>
  </p:cSld>
  <p:clrMapOvr>
    <a:masterClrMapping/>
  </p:clrMapOvr>
  <p:transition>
    <p:fade thruBlk="1"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9EF60F7-733F-4B7E-BBA5-58DAB42D8C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81</a:t>
            </a:fld>
            <a:endParaRPr lang="en-US" altLang="zh-TW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3849040-5680-49AC-A128-3E8343A8F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5487" y="381000"/>
            <a:ext cx="4848225" cy="4762500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A173FADF-B600-45BB-894E-4CF62BB9A9F5}"/>
              </a:ext>
            </a:extLst>
          </p:cNvPr>
          <p:cNvSpPr txBox="1"/>
          <p:nvPr/>
        </p:nvSpPr>
        <p:spPr>
          <a:xfrm>
            <a:off x="447319" y="5143500"/>
            <a:ext cx="84779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7200" dirty="0">
                <a:solidFill>
                  <a:srgbClr val="4D4D4D"/>
                </a:solidFill>
              </a:rPr>
              <a:t>Coffee break 10 min</a:t>
            </a:r>
            <a:endParaRPr lang="zh-TW" altLang="en-US" sz="72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91978"/>
      </p:ext>
    </p:extLst>
  </p:cSld>
  <p:clrMapOvr>
    <a:masterClrMapping/>
  </p:clrMapOvr>
  <p:transition spd="slow">
    <p:zoom dir="in"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b="1" kern="0" dirty="0" err="1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56909330"/>
      </p:ext>
    </p:extLst>
  </p:cSld>
  <p:clrMapOvr>
    <a:masterClrMapping/>
  </p:clrMapOvr>
  <p:transition>
    <p:fade thruBlk="1"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2">
            <a:extLst>
              <a:ext uri="{FF2B5EF4-FFF2-40B4-BE49-F238E27FC236}">
                <a16:creationId xmlns:a16="http://schemas.microsoft.com/office/drawing/2014/main" id="{C6361640-1897-49E9-955C-616CC0EE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677" y="914400"/>
            <a:ext cx="27432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  <a:t>Lab 2 </a:t>
            </a:r>
            <a:br>
              <a:rPr lang="en-US" altLang="zh-TW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</a:br>
            <a:r>
              <a:rPr lang="zh-TW" altLang="en-US" sz="4200" kern="1200" dirty="0">
                <a:solidFill>
                  <a:srgbClr val="954333"/>
                </a:solidFill>
                <a:latin typeface="+mj-lt"/>
                <a:ea typeface="+mj-ea"/>
                <a:cs typeface="+mj-cs"/>
              </a:rPr>
              <a:t>分支</a:t>
            </a:r>
          </a:p>
        </p:txBody>
      </p:sp>
      <p:pic>
        <p:nvPicPr>
          <p:cNvPr id="12290" name="Picture 2" descr="ãLab iconãçåçæå°çµæ">
            <a:extLst>
              <a:ext uri="{FF2B5EF4-FFF2-40B4-BE49-F238E27FC236}">
                <a16:creationId xmlns:a16="http://schemas.microsoft.com/office/drawing/2014/main" id="{AB9CEDD6-E0D8-41F6-A21C-D83177F09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5366" y="975391"/>
            <a:ext cx="4915159" cy="491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C7FB3F-F7D2-42B0-9C8B-7AECB9E451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93266" y="6356350"/>
            <a:ext cx="10220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59595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83</a:t>
            </a:fld>
            <a:endParaRPr lang="en-US" altLang="zh-TW">
              <a:solidFill>
                <a:srgbClr val="595959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05433075"/>
      </p:ext>
    </p:extLst>
  </p:cSld>
  <p:clrMapOvr>
    <a:masterClrMapping/>
  </p:clrMapOvr>
  <p:transition spd="slow">
    <p:zoom dir="in"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C7FB3F-F7D2-42B0-9C8B-7AECB9E451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93266" y="6356350"/>
            <a:ext cx="10220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59595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84</a:t>
            </a:fld>
            <a:endParaRPr lang="en-US" altLang="zh-TW">
              <a:solidFill>
                <a:srgbClr val="595959"/>
              </a:solidFill>
              <a:latin typeface="+mn-lt"/>
              <a:ea typeface="+mn-ea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93DBBF6-8C7E-4A55-95F7-77F348F4FAD1}"/>
              </a:ext>
            </a:extLst>
          </p:cNvPr>
          <p:cNvSpPr/>
          <p:nvPr/>
        </p:nvSpPr>
        <p:spPr bwMode="auto">
          <a:xfrm>
            <a:off x="1333500" y="1219200"/>
            <a:ext cx="14097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</a:t>
            </a:r>
            <a:r>
              <a:rPr kumimoji="0" lang="en-US" altLang="zh-TW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n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ECD1055-4822-4083-91C5-72F90CC5AB32}"/>
              </a:ext>
            </a:extLst>
          </p:cNvPr>
          <p:cNvSpPr/>
          <p:nvPr/>
        </p:nvSpPr>
        <p:spPr bwMode="auto">
          <a:xfrm>
            <a:off x="1308918" y="2057400"/>
            <a:ext cx="2653481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branch </a:t>
            </a:r>
            <a:r>
              <a:rPr kumimoji="0" lang="zh-TW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工號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4AFD9A4-B403-49C4-BE02-BB04333C5FCF}"/>
              </a:ext>
            </a:extLst>
          </p:cNvPr>
          <p:cNvSpPr/>
          <p:nvPr/>
        </p:nvSpPr>
        <p:spPr bwMode="auto">
          <a:xfrm>
            <a:off x="1308918" y="2993923"/>
            <a:ext cx="2653481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add .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D07A194-4D29-4592-B103-C5AF169E78B8}"/>
              </a:ext>
            </a:extLst>
          </p:cNvPr>
          <p:cNvSpPr/>
          <p:nvPr/>
        </p:nvSpPr>
        <p:spPr bwMode="auto">
          <a:xfrm>
            <a:off x="1308917" y="3947653"/>
            <a:ext cx="2653481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 –m “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init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"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44998F1-DE08-4BB2-A8AC-0A2A220299C0}"/>
              </a:ext>
            </a:extLst>
          </p:cNvPr>
          <p:cNvSpPr/>
          <p:nvPr/>
        </p:nvSpPr>
        <p:spPr bwMode="auto">
          <a:xfrm>
            <a:off x="1340874" y="5864945"/>
            <a:ext cx="2653481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push origin </a:t>
            </a:r>
            <a:r>
              <a:rPr kumimoji="0" lang="zh-TW" altLang="en-US" dirty="0">
                <a:solidFill>
                  <a:schemeClr val="tx1"/>
                </a:solidFill>
                <a:latin typeface="Arial" charset="0"/>
                <a:ea typeface="新細明體" charset="-120"/>
              </a:rPr>
              <a:t>工號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63B6C6BB-AFDF-4C2F-AEE6-21CA4BFB1380}"/>
              </a:ext>
            </a:extLst>
          </p:cNvPr>
          <p:cNvSpPr/>
          <p:nvPr/>
        </p:nvSpPr>
        <p:spPr bwMode="auto">
          <a:xfrm>
            <a:off x="1340874" y="4982295"/>
            <a:ext cx="7041126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it 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remote add origin https://gitlab-k8s.wistron.com/witlab/lab01.g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48361135"/>
      </p:ext>
    </p:extLst>
  </p:cSld>
  <p:clrMapOvr>
    <a:masterClrMapping/>
  </p:clrMapOvr>
  <p:transition spd="slow">
    <p:zoom dir="in"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FFC7FB3F-F7D2-42B0-9C8B-7AECB9E451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493266" y="6356350"/>
            <a:ext cx="10220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59595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85</a:t>
            </a:fld>
            <a:endParaRPr lang="en-US" altLang="zh-TW">
              <a:solidFill>
                <a:srgbClr val="595959"/>
              </a:solidFill>
              <a:latin typeface="+mn-lt"/>
              <a:ea typeface="+mn-ea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4B442084-B1FB-475E-929A-361D6FCB0C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74"/>
            <a:ext cx="9144000" cy="1200586"/>
          </a:xfrm>
          <a:prstGeom prst="rect">
            <a:avLst/>
          </a:prstGeom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FD8AD470-EBAC-4EEB-9449-3C41D53245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400" y="1187450"/>
            <a:ext cx="4495800" cy="553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240338"/>
      </p:ext>
    </p:extLst>
  </p:cSld>
  <p:clrMapOvr>
    <a:masterClrMapping/>
  </p:clrMapOvr>
  <p:transition spd="slow">
    <p:zoom dir="in"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094DA66C-4DD6-46CD-BCEA-1FC5289F3C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969" y="1295400"/>
            <a:ext cx="8120062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rgbClr val="4D4D4D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rgbClr val="4D4D4D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4D4D4D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課程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\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作說明         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1 – 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     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– 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概念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1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 </a:t>
            </a:r>
            <a:r>
              <a:rPr lang="zh-TW" altLang="en-US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原理       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– 35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ffee break                    – 10 min</a:t>
            </a:r>
          </a:p>
          <a:p>
            <a:pPr eaLnBrk="1" hangingPunct="1"/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2 – Git </a:t>
            </a:r>
            <a:r>
              <a:rPr lang="en-US" altLang="zh-TW" sz="2800" kern="0" dirty="0" err="1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2           – 15 min</a:t>
            </a:r>
          </a:p>
          <a:p>
            <a:pPr eaLnBrk="1" hangingPunct="1"/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3 </a:t>
            </a:r>
            <a:r>
              <a:rPr lang="zh-TW" altLang="en-US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</a:t>
            </a:r>
            <a:r>
              <a:rPr lang="en-US" altLang="zh-TW" sz="2800" b="1" kern="0" dirty="0">
                <a:solidFill>
                  <a:srgbClr val="954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  – 25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ab 3 –  Git </a:t>
            </a:r>
            <a:r>
              <a:rPr lang="en-US" altLang="zh-TW" sz="2800" kern="0" dirty="0" err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md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3          – 20 min</a:t>
            </a:r>
          </a:p>
          <a:p>
            <a:pPr eaLnBrk="1" hangingPunct="1"/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ession 4 </a:t>
            </a:r>
            <a:r>
              <a:rPr lang="zh-TW" altLang="en-US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務規則</a:t>
            </a:r>
            <a:r>
              <a:rPr lang="en-US" altLang="zh-TW" sz="2800" kern="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– 30 min</a:t>
            </a: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/>
            <a:endParaRPr lang="en-US" altLang="zh-TW" sz="2800" kern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6217462"/>
      </p:ext>
    </p:extLst>
  </p:cSld>
  <p:clrMapOvr>
    <a:masterClrMapping/>
  </p:clrMapOvr>
  <p:transition>
    <p:fade thruBlk="1"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180B9CC1-743F-4229-A23C-64FECA271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GIT </a:t>
            </a:r>
            <a:r>
              <a:rPr lang="zh-TW" altLang="en-US" dirty="0"/>
              <a:t>四大</a:t>
            </a:r>
            <a:r>
              <a:rPr lang="zh-TW" altLang="en-US" dirty="0">
                <a:solidFill>
                  <a:srgbClr val="FF0000"/>
                </a:solidFill>
              </a:rPr>
              <a:t>指標</a:t>
            </a:r>
            <a:r>
              <a:rPr lang="zh-TW" altLang="en-US" dirty="0"/>
              <a:t>物件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87</a:t>
            </a:fld>
            <a:endParaRPr lang="en-US" altLang="zh-TW" dirty="0"/>
          </a:p>
        </p:txBody>
      </p:sp>
      <p:sp>
        <p:nvSpPr>
          <p:cNvPr id="7" name="流程圖: 替代程序 6">
            <a:extLst>
              <a:ext uri="{FF2B5EF4-FFF2-40B4-BE49-F238E27FC236}">
                <a16:creationId xmlns:a16="http://schemas.microsoft.com/office/drawing/2014/main" id="{03B3D97F-2109-4443-97BD-181FF27D9D7C}"/>
              </a:ext>
            </a:extLst>
          </p:cNvPr>
          <p:cNvSpPr/>
          <p:nvPr/>
        </p:nvSpPr>
        <p:spPr bwMode="auto">
          <a:xfrm>
            <a:off x="5257800" y="4236098"/>
            <a:ext cx="3124200" cy="1524000"/>
          </a:xfrm>
          <a:prstGeom prst="flowChartAlternateProcess">
            <a:avLst/>
          </a:prstGeom>
          <a:solidFill>
            <a:srgbClr val="C76F5D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Brunch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流程圖: 替代程序 23">
            <a:extLst>
              <a:ext uri="{FF2B5EF4-FFF2-40B4-BE49-F238E27FC236}">
                <a16:creationId xmlns:a16="http://schemas.microsoft.com/office/drawing/2014/main" id="{743564BA-A2E5-4987-AA36-0A5F4159022E}"/>
              </a:ext>
            </a:extLst>
          </p:cNvPr>
          <p:cNvSpPr/>
          <p:nvPr/>
        </p:nvSpPr>
        <p:spPr bwMode="auto">
          <a:xfrm>
            <a:off x="5257800" y="1721498"/>
            <a:ext cx="3124200" cy="1524000"/>
          </a:xfrm>
          <a:prstGeom prst="flowChartAlternateProcess">
            <a:avLst/>
          </a:prstGeom>
          <a:solidFill>
            <a:srgbClr val="5B5BC9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HEAD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5" name="流程圖: 替代程序 24">
            <a:extLst>
              <a:ext uri="{FF2B5EF4-FFF2-40B4-BE49-F238E27FC236}">
                <a16:creationId xmlns:a16="http://schemas.microsoft.com/office/drawing/2014/main" id="{158973E8-9B6E-4ABD-A954-4F854693D1A7}"/>
              </a:ext>
            </a:extLst>
          </p:cNvPr>
          <p:cNvSpPr/>
          <p:nvPr/>
        </p:nvSpPr>
        <p:spPr bwMode="auto">
          <a:xfrm>
            <a:off x="823452" y="4236098"/>
            <a:ext cx="3124200" cy="1524000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remote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" name="流程圖: 替代程序 7">
            <a:extLst>
              <a:ext uri="{FF2B5EF4-FFF2-40B4-BE49-F238E27FC236}">
                <a16:creationId xmlns:a16="http://schemas.microsoft.com/office/drawing/2014/main" id="{5094A704-782D-483D-A75B-D2937FB6A353}"/>
              </a:ext>
            </a:extLst>
          </p:cNvPr>
          <p:cNvSpPr/>
          <p:nvPr/>
        </p:nvSpPr>
        <p:spPr bwMode="auto">
          <a:xfrm>
            <a:off x="727587" y="1672763"/>
            <a:ext cx="3124200" cy="1524000"/>
          </a:xfrm>
          <a:prstGeom prst="flowChartAlternateProcess">
            <a:avLst/>
          </a:prstGeom>
          <a:solidFill>
            <a:srgbClr val="FFFF66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4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tag</a:t>
            </a:r>
            <a:endParaRPr kumimoji="0" lang="zh-TW" altLang="en-US" sz="4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1266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7B5133E8-DB12-4186-A73D-F1E9FFBE6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7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911CBDA1-70C0-448F-A7EB-04FE2F168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015" y="167276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FEBF41C5-0617-4425-9787-6002F0344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299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ãtag iconãçåçæå°çµæ">
            <a:extLst>
              <a:ext uri="{FF2B5EF4-FFF2-40B4-BE49-F238E27FC236}">
                <a16:creationId xmlns:a16="http://schemas.microsoft.com/office/drawing/2014/main" id="{A40BBBCD-002D-4C51-BC61-DC3614C4F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236098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88D4350E-D195-42BB-83B6-5AB9155A9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5091" y="500479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D7CE48B8-2E95-4FCC-B312-5E1505168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986" y="505850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ãcheck pngãçåçæå°çµæ">
            <a:extLst>
              <a:ext uri="{FF2B5EF4-FFF2-40B4-BE49-F238E27FC236}">
                <a16:creationId xmlns:a16="http://schemas.microsoft.com/office/drawing/2014/main" id="{D5491D46-3EAE-46BA-B693-1F91A1289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8216" y="2942516"/>
            <a:ext cx="2133391" cy="244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8127404"/>
      </p:ext>
    </p:extLst>
  </p:cSld>
  <p:clrMapOvr>
    <a:masterClrMapping/>
  </p:clrMapOvr>
  <p:transition spd="slow">
    <p:zoom dir="in"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23AC064-BC96-4F32-8AE1-B2FD387548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297661" y="280374"/>
            <a:ext cx="8579095" cy="1844256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FE856244-B1C8-4B9C-867D-3894897A5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763" y="433545"/>
            <a:ext cx="8354890" cy="93044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zh-TW" altLang="en-US" sz="4700" kern="1200" dirty="0">
                <a:solidFill>
                  <a:srgbClr val="FFFFFF"/>
                </a:solidFill>
                <a:latin typeface="+mj-lt"/>
                <a:ea typeface="+mj-ea"/>
              </a:rPr>
              <a:t>分支長怎樣？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E7C77BC-7138-40B1-A15B-20F57A4946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672558" y="1522292"/>
            <a:ext cx="582930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圖片 11">
            <a:extLst>
              <a:ext uri="{FF2B5EF4-FFF2-40B4-BE49-F238E27FC236}">
                <a16:creationId xmlns:a16="http://schemas.microsoft.com/office/drawing/2014/main" id="{63592632-2966-45D3-9ACB-22D7D13E6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675" y="3152021"/>
            <a:ext cx="4091938" cy="2547231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B146403-F3D6-484B-B2ED-97F9565D0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587208" y="2596836"/>
            <a:ext cx="0" cy="3657600"/>
          </a:xfrm>
          <a:prstGeom prst="line">
            <a:avLst/>
          </a:prstGeom>
          <a:ln w="101600" cmpd="dbl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圖片 5">
            <a:extLst>
              <a:ext uri="{FF2B5EF4-FFF2-40B4-BE49-F238E27FC236}">
                <a16:creationId xmlns:a16="http://schemas.microsoft.com/office/drawing/2014/main" id="{564495E7-2C87-4E57-89DF-6A0365544B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3804" y="3162251"/>
            <a:ext cx="4091938" cy="2526771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2507" y="6522430"/>
            <a:ext cx="2057400" cy="34747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89898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88</a:t>
            </a:fld>
            <a:endParaRPr lang="en-US" altLang="zh-TW">
              <a:solidFill>
                <a:srgbClr val="898989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54443388"/>
      </p:ext>
    </p:extLst>
  </p:cSld>
  <p:clrMapOvr>
    <a:masterClrMapping/>
  </p:clrMapOvr>
  <p:transition spd="slow">
    <p:zoom dir="in"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E856244-B1C8-4B9C-867D-3894897A5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763" y="433545"/>
            <a:ext cx="8354890" cy="93044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zh-TW" altLang="en-US" sz="4700" kern="1200" dirty="0">
                <a:solidFill>
                  <a:srgbClr val="FFFFFF"/>
                </a:solidFill>
                <a:latin typeface="+mj-lt"/>
                <a:ea typeface="+mj-ea"/>
              </a:rPr>
              <a:t>分支長怎樣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62D1B0E-DB50-47EE-949A-7C3194B2B8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2507" y="6522430"/>
            <a:ext cx="2057400" cy="34747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A6790E0-BEF4-4832-A75A-9EE1100ED3A6}" type="slidenum">
              <a:rPr lang="en-US" altLang="zh-TW">
                <a:solidFill>
                  <a:srgbClr val="898989"/>
                </a:solidFill>
                <a:latin typeface="+mn-lt"/>
                <a:ea typeface="+mn-ea"/>
              </a:rPr>
              <a:pPr algn="r">
                <a:spcAft>
                  <a:spcPts val="600"/>
                </a:spcAft>
                <a:defRPr/>
              </a:pPr>
              <a:t>89</a:t>
            </a:fld>
            <a:endParaRPr lang="en-US" altLang="zh-TW">
              <a:solidFill>
                <a:srgbClr val="898989"/>
              </a:solidFill>
              <a:latin typeface="+mn-lt"/>
              <a:ea typeface="+mn-ea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D3428C2B-A626-434A-BE0B-D5073063E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7350" y="1552575"/>
            <a:ext cx="5829300" cy="3752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316774"/>
      </p:ext>
    </p:extLst>
  </p:cSld>
  <p:clrMapOvr>
    <a:masterClrMapping/>
  </p:clrMapOvr>
  <p:transition spd="slow">
    <p:zoom dir="in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ç¸éåç">
            <a:extLst>
              <a:ext uri="{FF2B5EF4-FFF2-40B4-BE49-F238E27FC236}">
                <a16:creationId xmlns:a16="http://schemas.microsoft.com/office/drawing/2014/main" id="{FB58AD6F-5A73-4592-86D4-7DDE37BFEE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686" y="2343234"/>
            <a:ext cx="1917514" cy="3468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D8F60659-E254-4564-B37F-DB90127FD0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9582" y="2918195"/>
            <a:ext cx="899160" cy="2766026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B1674E07-04BB-49C7-98E6-B4FDB9EEFA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0451" y="3641551"/>
            <a:ext cx="1114425" cy="2074375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B50F2C2C-DC69-4A96-9E83-59D7628C6E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382" y="4201451"/>
            <a:ext cx="1219200" cy="1514475"/>
          </a:xfrm>
          <a:prstGeom prst="rect">
            <a:avLst/>
          </a:prstGeom>
        </p:spPr>
      </p:pic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課程說明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96627504"/>
      </p:ext>
    </p:extLst>
  </p:cSld>
  <p:clrMapOvr>
    <a:masterClrMapping/>
  </p:clrMapOvr>
  <p:transition spd="slow">
    <p:zoom dir="in"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1AA93D3-C507-4F98-BDDF-D279C09983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0</a:t>
            </a:fld>
            <a:endParaRPr lang="en-US" altLang="zh-TW" dirty="0"/>
          </a:p>
        </p:txBody>
      </p:sp>
      <p:pic>
        <p:nvPicPr>
          <p:cNvPr id="40962" name="Picture 2" descr="ä½¿ç¨åæ¯åææä½">
            <a:extLst>
              <a:ext uri="{FF2B5EF4-FFF2-40B4-BE49-F238E27FC236}">
                <a16:creationId xmlns:a16="http://schemas.microsoft.com/office/drawing/2014/main" id="{D0013AB9-A553-4175-9836-7696DF256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3494" y="609600"/>
            <a:ext cx="6577012" cy="539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5122290"/>
      </p:ext>
    </p:extLst>
  </p:cSld>
  <p:clrMapOvr>
    <a:masterClrMapping/>
  </p:clrMapOvr>
  <p:transition spd="slow">
    <p:zoom dir="in"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C3E71D64-A074-4C2E-BC0A-C4EB2BBE2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900" y="1542366"/>
            <a:ext cx="8077200" cy="4525963"/>
          </a:xfrm>
        </p:spPr>
        <p:txBody>
          <a:bodyPr/>
          <a:lstStyle/>
          <a:p>
            <a:r>
              <a:rPr lang="zh-TW" altLang="en-US" dirty="0"/>
              <a:t>階段或穩定度：</a:t>
            </a:r>
            <a:br>
              <a:rPr lang="en-US" altLang="zh-TW" dirty="0"/>
            </a:br>
            <a:br>
              <a:rPr lang="en-US" altLang="zh-TW" dirty="0"/>
            </a:br>
            <a:r>
              <a:rPr lang="en-US" altLang="zh-TW" dirty="0"/>
              <a:t>master</a:t>
            </a:r>
            <a:r>
              <a:rPr lang="zh-TW" altLang="en-US" dirty="0"/>
              <a:t>、</a:t>
            </a:r>
            <a:r>
              <a:rPr lang="en-US" altLang="zh-TW" dirty="0"/>
              <a:t>develop</a:t>
            </a:r>
            <a:r>
              <a:rPr lang="zh-TW" altLang="en-US" dirty="0"/>
              <a:t>、</a:t>
            </a:r>
            <a:r>
              <a:rPr lang="en-US" altLang="zh-TW" dirty="0"/>
              <a:t>hotfix</a:t>
            </a:r>
          </a:p>
          <a:p>
            <a:pPr marL="0" indent="0">
              <a:buNone/>
            </a:pPr>
            <a:br>
              <a:rPr lang="en-US" altLang="zh-TW" dirty="0"/>
            </a:br>
            <a:endParaRPr lang="en-US" altLang="zh-TW" dirty="0"/>
          </a:p>
          <a:p>
            <a:r>
              <a:rPr lang="zh-TW" altLang="en-US" dirty="0"/>
              <a:t>功能或開發分支：</a:t>
            </a:r>
            <a:br>
              <a:rPr lang="en-US" altLang="zh-TW" dirty="0"/>
            </a:br>
            <a:r>
              <a:rPr lang="en-US" altLang="zh-TW" dirty="0"/>
              <a:t>master</a:t>
            </a:r>
            <a:r>
              <a:rPr lang="zh-TW" altLang="en-US" dirty="0"/>
              <a:t>、</a:t>
            </a:r>
            <a:r>
              <a:rPr lang="en-US" altLang="zh-TW" dirty="0" err="1"/>
              <a:t>featureA</a:t>
            </a:r>
            <a:r>
              <a:rPr lang="zh-TW" altLang="en-US" dirty="0"/>
              <a:t>、</a:t>
            </a:r>
            <a:r>
              <a:rPr lang="en-US" altLang="zh-TW" dirty="0" err="1"/>
              <a:t>featureB</a:t>
            </a:r>
            <a:r>
              <a:rPr lang="zh-TW" altLang="en-US" dirty="0"/>
              <a:t>、</a:t>
            </a:r>
            <a:r>
              <a:rPr lang="en-US" altLang="zh-TW" dirty="0" err="1"/>
              <a:t>BugA</a:t>
            </a: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  <a:p>
            <a:endParaRPr lang="en-US" altLang="zh-TW" dirty="0"/>
          </a:p>
          <a:p>
            <a:endParaRPr lang="en-US" altLang="zh-TW" dirty="0"/>
          </a:p>
          <a:p>
            <a:endParaRPr lang="en-US" altLang="zh-TW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分支策略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1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97722445"/>
      </p:ext>
    </p:extLst>
  </p:cSld>
  <p:clrMapOvr>
    <a:masterClrMapping/>
  </p:clrMapOvr>
  <p:transition spd="slow">
    <p:zoom dir="in"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建立分支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2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2575559"/>
            <a:ext cx="1455620" cy="633631"/>
            <a:chOff x="829006" y="2574967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branch dev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55862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72195676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切換分支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3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heckout dev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55862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2575559"/>
            <a:ext cx="1455620" cy="633631"/>
            <a:chOff x="829006" y="2574967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4804497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7.40741E-7 L 0.00104 0.24005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" y="119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分支</a:t>
            </a:r>
            <a:r>
              <a:rPr lang="en-US" altLang="zh-TW" dirty="0"/>
              <a:t>commi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4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55862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4183380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899F5217-0AD5-4B49-BB1C-651DC37349E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234914D8-EE9E-4E4B-BA93-736048DBFBE5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橢圓 28">
            <a:extLst>
              <a:ext uri="{FF2B5EF4-FFF2-40B4-BE49-F238E27FC236}">
                <a16:creationId xmlns:a16="http://schemas.microsoft.com/office/drawing/2014/main" id="{0A967DD8-04A6-4DB0-97A0-3E31F19976B6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1402152-477A-4D4A-8784-363537B5D1E2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184CA17F-B0D4-421F-99D1-3C11D840E01C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32" name="橢圓 31">
            <a:extLst>
              <a:ext uri="{FF2B5EF4-FFF2-40B4-BE49-F238E27FC236}">
                <a16:creationId xmlns:a16="http://schemas.microsoft.com/office/drawing/2014/main" id="{0AE0E735-A3AF-436D-B239-223800BC1E6D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4" name="直線接點 33">
            <a:extLst>
              <a:ext uri="{FF2B5EF4-FFF2-40B4-BE49-F238E27FC236}">
                <a16:creationId xmlns:a16="http://schemas.microsoft.com/office/drawing/2014/main" id="{1776E91B-A867-40AE-A76E-F1D77758CE5E}"/>
              </a:ext>
            </a:extLst>
          </p:cNvPr>
          <p:cNvCxnSpPr>
            <a:cxnSpLocks/>
            <a:stCxn id="29" idx="5"/>
            <a:endCxn id="32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5D633DFA-5558-4421-BEA2-3A15199205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6138277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1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5" grpId="0" animBg="1"/>
      <p:bldP spid="16" grpId="0" animBg="1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合併分支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5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heckout master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281158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2811580" y="4183380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橢圓 1">
            <a:extLst>
              <a:ext uri="{FF2B5EF4-FFF2-40B4-BE49-F238E27FC236}">
                <a16:creationId xmlns:a16="http://schemas.microsoft.com/office/drawing/2014/main" id="{8122B3FD-B26A-4F97-92E8-8905AF2F7B57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A2774EB8-8E91-4E07-8E7F-FC3E1082C3FF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47BAF56D-50DF-4F99-AEE5-519F5F610BFA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28" name="橢圓 27">
            <a:extLst>
              <a:ext uri="{FF2B5EF4-FFF2-40B4-BE49-F238E27FC236}">
                <a16:creationId xmlns:a16="http://schemas.microsoft.com/office/drawing/2014/main" id="{64B184F8-7A19-442D-8CF2-C3EA3263D26B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橢圓 23">
            <a:extLst>
              <a:ext uri="{FF2B5EF4-FFF2-40B4-BE49-F238E27FC236}">
                <a16:creationId xmlns:a16="http://schemas.microsoft.com/office/drawing/2014/main" id="{8739562D-0F33-4C49-833D-E6ECC831B587}"/>
              </a:ext>
            </a:extLst>
          </p:cNvPr>
          <p:cNvSpPr/>
          <p:nvPr/>
        </p:nvSpPr>
        <p:spPr bwMode="auto">
          <a:xfrm>
            <a:off x="7634356" y="2504762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4" name="直線接點 13">
            <a:extLst>
              <a:ext uri="{FF2B5EF4-FFF2-40B4-BE49-F238E27FC236}">
                <a16:creationId xmlns:a16="http://schemas.microsoft.com/office/drawing/2014/main" id="{A3189684-0FD5-42E9-A8E9-0577760553F6}"/>
              </a:ext>
            </a:extLst>
          </p:cNvPr>
          <p:cNvCxnSpPr>
            <a:cxnSpLocks/>
            <a:stCxn id="2" idx="5"/>
            <a:endCxn id="28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直線接點 24">
            <a:extLst>
              <a:ext uri="{FF2B5EF4-FFF2-40B4-BE49-F238E27FC236}">
                <a16:creationId xmlns:a16="http://schemas.microsoft.com/office/drawing/2014/main" id="{36E2E80F-6C8B-41A3-92FF-2B0F1600A366}"/>
              </a:ext>
            </a:extLst>
          </p:cNvPr>
          <p:cNvCxnSpPr>
            <a:cxnSpLocks/>
            <a:stCxn id="28" idx="4"/>
            <a:endCxn id="24" idx="7"/>
          </p:cNvCxnSpPr>
          <p:nvPr/>
        </p:nvCxnSpPr>
        <p:spPr bwMode="auto">
          <a:xfrm flipH="1">
            <a:off x="7894519" y="1984969"/>
            <a:ext cx="563681" cy="56443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直線接點 28">
            <a:extLst>
              <a:ext uri="{FF2B5EF4-FFF2-40B4-BE49-F238E27FC236}">
                <a16:creationId xmlns:a16="http://schemas.microsoft.com/office/drawing/2014/main" id="{609C8946-A6FB-4FA6-9CBC-E92EE7659212}"/>
              </a:ext>
            </a:extLst>
          </p:cNvPr>
          <p:cNvCxnSpPr>
            <a:cxnSpLocks/>
            <a:stCxn id="2" idx="4"/>
            <a:endCxn id="24" idx="0"/>
          </p:cNvCxnSpPr>
          <p:nvPr/>
        </p:nvCxnSpPr>
        <p:spPr bwMode="auto">
          <a:xfrm>
            <a:off x="7772400" y="1467178"/>
            <a:ext cx="14356" cy="1037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直線接點 32">
            <a:extLst>
              <a:ext uri="{FF2B5EF4-FFF2-40B4-BE49-F238E27FC236}">
                <a16:creationId xmlns:a16="http://schemas.microsoft.com/office/drawing/2014/main" id="{91D42821-9392-4AC1-B43A-9C67AD8F5C93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流程圖: 替代程序 37">
            <a:extLst>
              <a:ext uri="{FF2B5EF4-FFF2-40B4-BE49-F238E27FC236}">
                <a16:creationId xmlns:a16="http://schemas.microsoft.com/office/drawing/2014/main" id="{DAA6526A-B19E-4024-8AB6-BEC3331ED740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9" name="箭號: 向右 38">
            <a:extLst>
              <a:ext uri="{FF2B5EF4-FFF2-40B4-BE49-F238E27FC236}">
                <a16:creationId xmlns:a16="http://schemas.microsoft.com/office/drawing/2014/main" id="{BB0244F4-0008-4955-8FFC-137202BD6000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3504160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48148E-6 L -0.24757 -0.2226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78" y="-111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4"/>
            <a:ext cx="7848600" cy="1200329"/>
          </a:xfrm>
        </p:spPr>
        <p:txBody>
          <a:bodyPr/>
          <a:lstStyle/>
          <a:p>
            <a:r>
              <a:rPr lang="zh-TW" altLang="en-US" dirty="0"/>
              <a:t>合併分支 </a:t>
            </a:r>
            <a:r>
              <a:rPr lang="en-US" altLang="zh-TW" dirty="0"/>
              <a:t>(Fast Forward)</a:t>
            </a:r>
            <a:br>
              <a:rPr lang="en-US" altLang="zh-TW" dirty="0"/>
            </a:b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6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merge dev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281158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7980" y="2490150"/>
            <a:ext cx="1426763" cy="738578"/>
            <a:chOff x="1267403" y="3277765"/>
            <a:chExt cx="1426763" cy="738578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1395223" y="3382712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7403" y="327776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橢圓 1">
            <a:extLst>
              <a:ext uri="{FF2B5EF4-FFF2-40B4-BE49-F238E27FC236}">
                <a16:creationId xmlns:a16="http://schemas.microsoft.com/office/drawing/2014/main" id="{8122B3FD-B26A-4F97-92E8-8905AF2F7B57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A2774EB8-8E91-4E07-8E7F-FC3E1082C3FF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47BAF56D-50DF-4F99-AEE5-519F5F610BFA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28" name="橢圓 27">
            <a:extLst>
              <a:ext uri="{FF2B5EF4-FFF2-40B4-BE49-F238E27FC236}">
                <a16:creationId xmlns:a16="http://schemas.microsoft.com/office/drawing/2014/main" id="{64B184F8-7A19-442D-8CF2-C3EA3263D26B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4" name="橢圓 23">
            <a:extLst>
              <a:ext uri="{FF2B5EF4-FFF2-40B4-BE49-F238E27FC236}">
                <a16:creationId xmlns:a16="http://schemas.microsoft.com/office/drawing/2014/main" id="{8739562D-0F33-4C49-833D-E6ECC831B587}"/>
              </a:ext>
            </a:extLst>
          </p:cNvPr>
          <p:cNvSpPr/>
          <p:nvPr/>
        </p:nvSpPr>
        <p:spPr bwMode="auto">
          <a:xfrm>
            <a:off x="7634356" y="2504762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14" name="直線接點 13">
            <a:extLst>
              <a:ext uri="{FF2B5EF4-FFF2-40B4-BE49-F238E27FC236}">
                <a16:creationId xmlns:a16="http://schemas.microsoft.com/office/drawing/2014/main" id="{A3189684-0FD5-42E9-A8E9-0577760553F6}"/>
              </a:ext>
            </a:extLst>
          </p:cNvPr>
          <p:cNvCxnSpPr>
            <a:cxnSpLocks/>
            <a:stCxn id="2" idx="5"/>
            <a:endCxn id="28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直線接點 24">
            <a:extLst>
              <a:ext uri="{FF2B5EF4-FFF2-40B4-BE49-F238E27FC236}">
                <a16:creationId xmlns:a16="http://schemas.microsoft.com/office/drawing/2014/main" id="{36E2E80F-6C8B-41A3-92FF-2B0F1600A366}"/>
              </a:ext>
            </a:extLst>
          </p:cNvPr>
          <p:cNvCxnSpPr>
            <a:cxnSpLocks/>
            <a:stCxn id="28" idx="4"/>
            <a:endCxn id="24" idx="7"/>
          </p:cNvCxnSpPr>
          <p:nvPr/>
        </p:nvCxnSpPr>
        <p:spPr bwMode="auto">
          <a:xfrm flipH="1">
            <a:off x="7894519" y="1984969"/>
            <a:ext cx="563681" cy="56443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直線接點 28">
            <a:extLst>
              <a:ext uri="{FF2B5EF4-FFF2-40B4-BE49-F238E27FC236}">
                <a16:creationId xmlns:a16="http://schemas.microsoft.com/office/drawing/2014/main" id="{609C8946-A6FB-4FA6-9CBC-E92EE7659212}"/>
              </a:ext>
            </a:extLst>
          </p:cNvPr>
          <p:cNvCxnSpPr>
            <a:cxnSpLocks/>
            <a:stCxn id="2" idx="4"/>
            <a:endCxn id="24" idx="0"/>
          </p:cNvCxnSpPr>
          <p:nvPr/>
        </p:nvCxnSpPr>
        <p:spPr bwMode="auto">
          <a:xfrm>
            <a:off x="7772400" y="1467178"/>
            <a:ext cx="14356" cy="1037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直線接點 32">
            <a:extLst>
              <a:ext uri="{FF2B5EF4-FFF2-40B4-BE49-F238E27FC236}">
                <a16:creationId xmlns:a16="http://schemas.microsoft.com/office/drawing/2014/main" id="{91D42821-9392-4AC1-B43A-9C67AD8F5C93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流程圖: 替代程序 34">
            <a:extLst>
              <a:ext uri="{FF2B5EF4-FFF2-40B4-BE49-F238E27FC236}">
                <a16:creationId xmlns:a16="http://schemas.microsoft.com/office/drawing/2014/main" id="{93303521-15EE-49E9-BCEC-8CA76639BBA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6" name="箭號: 向右 35">
            <a:extLst>
              <a:ext uri="{FF2B5EF4-FFF2-40B4-BE49-F238E27FC236}">
                <a16:creationId xmlns:a16="http://schemas.microsoft.com/office/drawing/2014/main" id="{3FB449F1-3194-4B73-B764-2264CCFFACE8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07526640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1.85185E-6 L 0.24549 -0.008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74" y="-44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1.48148E-6 L 0.23385 -0.00255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84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建立分支 </a:t>
            </a:r>
            <a:r>
              <a:rPr lang="en-US" altLang="zh-TW" dirty="0">
                <a:highlight>
                  <a:srgbClr val="FFFF00"/>
                </a:highlight>
              </a:rPr>
              <a:t>– case 2</a:t>
            </a:r>
            <a:endParaRPr lang="zh-TW" altLang="en-US" dirty="0">
              <a:highlight>
                <a:srgbClr val="FFFF00"/>
              </a:highlight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7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2575559"/>
            <a:ext cx="1455620" cy="633631"/>
            <a:chOff x="829006" y="2574967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branch dev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55862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0097406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切換分支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8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heckout dev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55862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2575559"/>
            <a:ext cx="1455620" cy="633631"/>
            <a:chOff x="829006" y="2574967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2574967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2583345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1594623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7.40741E-7 L 0.00104 0.24005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" y="119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A8B0E94D-A3BF-414C-B2B8-9C1ABBBE2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分支</a:t>
            </a:r>
            <a:r>
              <a:rPr lang="en-US" altLang="zh-TW" dirty="0"/>
              <a:t>commit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D7C7D76-5676-46B8-9671-91D52F3F9F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9</a:t>
            </a:fld>
            <a:endParaRPr lang="en-US" altLang="zh-TW" dirty="0"/>
          </a:p>
        </p:txBody>
      </p:sp>
      <p:sp>
        <p:nvSpPr>
          <p:cNvPr id="6" name="流程圖: 替代程序 5">
            <a:extLst>
              <a:ext uri="{FF2B5EF4-FFF2-40B4-BE49-F238E27FC236}">
                <a16:creationId xmlns:a16="http://schemas.microsoft.com/office/drawing/2014/main" id="{53EBEFBF-0493-4A7F-BB82-E001F6F095BA}"/>
              </a:ext>
            </a:extLst>
          </p:cNvPr>
          <p:cNvSpPr/>
          <p:nvPr/>
        </p:nvSpPr>
        <p:spPr bwMode="auto">
          <a:xfrm>
            <a:off x="685800" y="1366947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662F030-77C4-476E-B7C3-6B6F1F3BA598}"/>
              </a:ext>
            </a:extLst>
          </p:cNvPr>
          <p:cNvGrpSpPr/>
          <p:nvPr/>
        </p:nvGrpSpPr>
        <p:grpSpPr>
          <a:xfrm>
            <a:off x="568453" y="3240297"/>
            <a:ext cx="1445787" cy="633630"/>
            <a:chOff x="836381" y="3605576"/>
            <a:chExt cx="1445787" cy="633630"/>
          </a:xfrm>
        </p:grpSpPr>
        <p:sp>
          <p:nvSpPr>
            <p:cNvPr id="11" name="流程圖: 替代程序 10">
              <a:extLst>
                <a:ext uri="{FF2B5EF4-FFF2-40B4-BE49-F238E27FC236}">
                  <a16:creationId xmlns:a16="http://schemas.microsoft.com/office/drawing/2014/main" id="{D7918897-5161-465E-9F0E-B3B811494D34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master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12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38AAA6F4-2EAB-48EA-BC1E-AB89186BEE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BF69D384-316D-43D3-8911-8A728BCDB620}"/>
              </a:ext>
            </a:extLst>
          </p:cNvPr>
          <p:cNvSpPr/>
          <p:nvPr/>
        </p:nvSpPr>
        <p:spPr bwMode="auto">
          <a:xfrm>
            <a:off x="1714500" y="57912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F783F1EE-9399-48D6-BC27-888848929A09}"/>
              </a:ext>
            </a:extLst>
          </p:cNvPr>
          <p:cNvGrpSpPr/>
          <p:nvPr/>
        </p:nvGrpSpPr>
        <p:grpSpPr>
          <a:xfrm>
            <a:off x="558620" y="4848117"/>
            <a:ext cx="1445787" cy="633630"/>
            <a:chOff x="836381" y="3605576"/>
            <a:chExt cx="1445787" cy="633630"/>
          </a:xfrm>
        </p:grpSpPr>
        <p:sp>
          <p:nvSpPr>
            <p:cNvPr id="22" name="流程圖: 替代程序 21">
              <a:extLst>
                <a:ext uri="{FF2B5EF4-FFF2-40B4-BE49-F238E27FC236}">
                  <a16:creationId xmlns:a16="http://schemas.microsoft.com/office/drawing/2014/main" id="{B24703AF-8990-4D77-8859-693E4834B4DB}"/>
                </a:ext>
              </a:extLst>
            </p:cNvPr>
            <p:cNvSpPr/>
            <p:nvPr/>
          </p:nvSpPr>
          <p:spPr bwMode="auto">
            <a:xfrm>
              <a:off x="983225" y="3605576"/>
              <a:ext cx="1298943" cy="633630"/>
            </a:xfrm>
            <a:prstGeom prst="flowChartAlternateProcess">
              <a:avLst/>
            </a:prstGeom>
            <a:solidFill>
              <a:srgbClr val="C76F5D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dev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3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4366B4B6-54E3-4119-8859-CCD0B564A2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81" y="360557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9C0D38B0-3D33-47F4-B633-ED1D8FC0CE74}"/>
              </a:ext>
            </a:extLst>
          </p:cNvPr>
          <p:cNvGrpSpPr/>
          <p:nvPr/>
        </p:nvGrpSpPr>
        <p:grpSpPr>
          <a:xfrm>
            <a:off x="558620" y="4183380"/>
            <a:ext cx="1455620" cy="633631"/>
            <a:chOff x="829006" y="4182788"/>
            <a:chExt cx="1455620" cy="633631"/>
          </a:xfrm>
        </p:grpSpPr>
        <p:sp>
          <p:nvSpPr>
            <p:cNvPr id="8" name="流程圖: 替代程序 7">
              <a:extLst>
                <a:ext uri="{FF2B5EF4-FFF2-40B4-BE49-F238E27FC236}">
                  <a16:creationId xmlns:a16="http://schemas.microsoft.com/office/drawing/2014/main" id="{FE8FA03F-71FE-46CD-8C1E-BF667CA24B11}"/>
                </a:ext>
              </a:extLst>
            </p:cNvPr>
            <p:cNvSpPr/>
            <p:nvPr/>
          </p:nvSpPr>
          <p:spPr bwMode="auto">
            <a:xfrm>
              <a:off x="985683" y="4182788"/>
              <a:ext cx="1298943" cy="633631"/>
            </a:xfrm>
            <a:prstGeom prst="flowChartAlternateProcess">
              <a:avLst/>
            </a:prstGeom>
            <a:solidFill>
              <a:srgbClr val="5B5BC9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2400" dirty="0">
                  <a:solidFill>
                    <a:schemeClr val="tx1"/>
                  </a:solidFill>
                  <a:latin typeface="Arial" charset="0"/>
                  <a:ea typeface="新細明體" charset="-120"/>
                </a:rPr>
                <a:t>HEAD</a:t>
              </a:r>
              <a:endParaRPr kumimoji="0" lang="zh-TW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9" name="Picture 2" descr="ãtag iconãçåçæå°çµæ">
              <a:extLst>
                <a:ext uri="{FF2B5EF4-FFF2-40B4-BE49-F238E27FC236}">
                  <a16:creationId xmlns:a16="http://schemas.microsoft.com/office/drawing/2014/main" id="{622C739C-5B16-4369-98EA-48370E2BB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006" y="4191166"/>
              <a:ext cx="308437" cy="308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流程圖: 替代程序 14">
            <a:extLst>
              <a:ext uri="{FF2B5EF4-FFF2-40B4-BE49-F238E27FC236}">
                <a16:creationId xmlns:a16="http://schemas.microsoft.com/office/drawing/2014/main" id="{899F5217-0AD5-4B49-BB1C-651DC37349ED}"/>
              </a:ext>
            </a:extLst>
          </p:cNvPr>
          <p:cNvSpPr/>
          <p:nvPr/>
        </p:nvSpPr>
        <p:spPr bwMode="auto">
          <a:xfrm>
            <a:off x="2878650" y="1417786"/>
            <a:ext cx="1298943" cy="633631"/>
          </a:xfrm>
          <a:prstGeom prst="flowChartAlternateProcess">
            <a:avLst/>
          </a:prstGeom>
          <a:solidFill>
            <a:srgbClr val="EC5D57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sz="2400" dirty="0">
                <a:solidFill>
                  <a:schemeClr val="tx1"/>
                </a:solidFill>
                <a:latin typeface="Arial" charset="0"/>
                <a:ea typeface="新細明體" charset="-120"/>
              </a:rPr>
              <a:t>commit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6" name="箭號: 向右 15">
            <a:extLst>
              <a:ext uri="{FF2B5EF4-FFF2-40B4-BE49-F238E27FC236}">
                <a16:creationId xmlns:a16="http://schemas.microsoft.com/office/drawing/2014/main" id="{234914D8-EE9E-4E4B-BA93-736048DBFBE5}"/>
              </a:ext>
            </a:extLst>
          </p:cNvPr>
          <p:cNvSpPr/>
          <p:nvPr/>
        </p:nvSpPr>
        <p:spPr bwMode="auto">
          <a:xfrm>
            <a:off x="2105189" y="1467902"/>
            <a:ext cx="653015" cy="5334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29" name="橢圓 28">
            <a:extLst>
              <a:ext uri="{FF2B5EF4-FFF2-40B4-BE49-F238E27FC236}">
                <a16:creationId xmlns:a16="http://schemas.microsoft.com/office/drawing/2014/main" id="{0A967DD8-04A6-4DB0-97A0-3E31F19976B6}"/>
              </a:ext>
            </a:extLst>
          </p:cNvPr>
          <p:cNvSpPr/>
          <p:nvPr/>
        </p:nvSpPr>
        <p:spPr bwMode="auto">
          <a:xfrm>
            <a:off x="7620000" y="1162378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1402152-477A-4D4A-8784-363537B5D1E2}"/>
              </a:ext>
            </a:extLst>
          </p:cNvPr>
          <p:cNvSpPr txBox="1"/>
          <p:nvPr/>
        </p:nvSpPr>
        <p:spPr>
          <a:xfrm>
            <a:off x="7327406" y="734329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ster</a:t>
            </a:r>
            <a:endParaRPr lang="zh-TW" altLang="en-US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184CA17F-B0D4-421F-99D1-3C11D840E01C}"/>
              </a:ext>
            </a:extLst>
          </p:cNvPr>
          <p:cNvSpPr txBox="1"/>
          <p:nvPr/>
        </p:nvSpPr>
        <p:spPr>
          <a:xfrm>
            <a:off x="8185187" y="734329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dev</a:t>
            </a:r>
            <a:endParaRPr lang="zh-TW" altLang="en-US" dirty="0"/>
          </a:p>
        </p:txBody>
      </p:sp>
      <p:sp>
        <p:nvSpPr>
          <p:cNvPr id="32" name="橢圓 31">
            <a:extLst>
              <a:ext uri="{FF2B5EF4-FFF2-40B4-BE49-F238E27FC236}">
                <a16:creationId xmlns:a16="http://schemas.microsoft.com/office/drawing/2014/main" id="{0AE0E735-A3AF-436D-B239-223800BC1E6D}"/>
              </a:ext>
            </a:extLst>
          </p:cNvPr>
          <p:cNvSpPr/>
          <p:nvPr/>
        </p:nvSpPr>
        <p:spPr bwMode="auto">
          <a:xfrm>
            <a:off x="8305800" y="1680169"/>
            <a:ext cx="304800" cy="304800"/>
          </a:xfrm>
          <a:prstGeom prst="ellipse">
            <a:avLst/>
          </a:prstGeom>
          <a:solidFill>
            <a:srgbClr val="FA655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cxnSp>
        <p:nvCxnSpPr>
          <p:cNvPr id="34" name="直線接點 33">
            <a:extLst>
              <a:ext uri="{FF2B5EF4-FFF2-40B4-BE49-F238E27FC236}">
                <a16:creationId xmlns:a16="http://schemas.microsoft.com/office/drawing/2014/main" id="{1776E91B-A867-40AE-A76E-F1D77758CE5E}"/>
              </a:ext>
            </a:extLst>
          </p:cNvPr>
          <p:cNvCxnSpPr>
            <a:cxnSpLocks/>
            <a:stCxn id="29" idx="5"/>
            <a:endCxn id="32" idx="1"/>
          </p:cNvCxnSpPr>
          <p:nvPr/>
        </p:nvCxnSpPr>
        <p:spPr bwMode="auto">
          <a:xfrm>
            <a:off x="7880163" y="1422541"/>
            <a:ext cx="470274" cy="30226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5D633DFA-5558-4421-BEA2-3A15199205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152325" y="792659"/>
            <a:ext cx="33029" cy="26018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952209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1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5" grpId="0" animBg="1"/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3.xml><?xml version="1.0" encoding="utf-8"?>
<a:theme xmlns:a="http://schemas.openxmlformats.org/drawingml/2006/main" name="1_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4.xml><?xml version="1.0" encoding="utf-8"?>
<a:theme xmlns:a="http://schemas.openxmlformats.org/drawingml/2006/main" name="2_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5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Document_x0020_Type xmlns="c000a10d-05d5-4f11-b19e-3d8494352b8d">Reference</Document_x0020_Type>
    <Site xmlns="c000a10d-05d5-4f11-b19e-3d8494352b8d">
      <Value>WW</Value>
    </Site>
    <Document_x0020_Category xmlns="c000a10d-05d5-4f11-b19e-3d8494352b8d">
      <Value>N/A</Value>
    </Document_x0020_Category>
    <New_x0020_Project_x0020_Name xmlns="a285bffa-3e82-456b-9c8d-902356072ba9">385</New_x0020_Project_x0020_Nam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22D71890FA0F4D832F643507DEC271" ma:contentTypeVersion="20" ma:contentTypeDescription="Create a new document." ma:contentTypeScope="" ma:versionID="72406ee00e51fc6b5fe329ce9af64a77">
  <xsd:schema xmlns:xsd="http://www.w3.org/2001/XMLSchema" xmlns:xs="http://www.w3.org/2001/XMLSchema" xmlns:p="http://schemas.microsoft.com/office/2006/metadata/properties" xmlns:ns2="a285bffa-3e82-456b-9c8d-902356072ba9" xmlns:ns3="c000a10d-05d5-4f11-b19e-3d8494352b8d" targetNamespace="http://schemas.microsoft.com/office/2006/metadata/properties" ma:root="true" ma:fieldsID="83078d8037682f49b66976018b62fb2d" ns2:_="" ns3:_="">
    <xsd:import namespace="a285bffa-3e82-456b-9c8d-902356072ba9"/>
    <xsd:import namespace="c000a10d-05d5-4f11-b19e-3d8494352b8d"/>
    <xsd:element name="properties">
      <xsd:complexType>
        <xsd:sequence>
          <xsd:element name="documentManagement">
            <xsd:complexType>
              <xsd:all>
                <xsd:element ref="ns2:New_x0020_Project_x0020_Name"/>
                <xsd:element ref="ns3:Document_x0020_Category" minOccurs="0"/>
                <xsd:element ref="ns3:Document_x0020_Type"/>
                <xsd:element ref="ns3:Si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85bffa-3e82-456b-9c8d-902356072ba9" elementFormDefault="qualified">
    <xsd:import namespace="http://schemas.microsoft.com/office/2006/documentManagement/types"/>
    <xsd:import namespace="http://schemas.microsoft.com/office/infopath/2007/PartnerControls"/>
    <xsd:element name="New_x0020_Project_x0020_Name" ma:index="2" ma:displayName="Project Name" ma:description="Project Name" ma:list="{23fd4177-b742-4f9f-af2c-7a3c17ed0e55}" ma:internalName="New_x0020_Project_x0020_Name" ma:readOnly="false" ma:showField="Titl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00a10d-05d5-4f11-b19e-3d8494352b8d" elementFormDefault="qualified">
    <xsd:import namespace="http://schemas.microsoft.com/office/2006/documentManagement/types"/>
    <xsd:import namespace="http://schemas.microsoft.com/office/infopath/2007/PartnerControls"/>
    <xsd:element name="Document_x0020_Category" ma:index="3" nillable="true" ma:displayName="Document Category" ma:description="Document Category" ma:internalName="Document_x0020_Category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[AP]AVATAR"/>
                    <xsd:enumeration value="[AP]AVATRA-ADM"/>
                    <xsd:enumeration value="[AP]B2B-ADM"/>
                    <xsd:enumeration value="[AP]BASIS-BW"/>
                    <xsd:enumeration value="[AP]BASIS-SAP ECC5"/>
                    <xsd:enumeration value="[AP]BI-Cognos"/>
                    <xsd:enumeration value="[AP]BI-Controller"/>
                    <xsd:enumeration value="[AP]BI-DataStage"/>
                    <xsd:enumeration value="[AP]BLUESKY-BM"/>
                    <xsd:enumeration value="[AP]BLUESKY-ER"/>
                    <xsd:enumeration value="[AP]BLUESKY-IM"/>
                    <xsd:enumeration value="[AP]BLUESKY-SA"/>
                    <xsd:enumeration value="[AP]BLUESKY-SM"/>
                    <xsd:enumeration value="[AP]BLUESKY-VM"/>
                    <xsd:enumeration value="[AP]CCM ADM"/>
                    <xsd:enumeration value="[AP]CCM DCRN"/>
                    <xsd:enumeration value="[AP]CCM ECO"/>
                    <xsd:enumeration value="[AP]CCM ECRN"/>
                    <xsd:enumeration value="[AP]CCM USR"/>
                    <xsd:enumeration value="[AP]CCM UTS"/>
                    <xsd:enumeration value="[AP]CMS-BDS/BYS"/>
                    <xsd:enumeration value="[AP]CMS-COA"/>
                    <xsd:enumeration value="[AP]CMS-EPS"/>
                    <xsd:enumeration value="[AP]CMS-PPS"/>
                    <xsd:enumeration value="[AP]CMS-WMS(for CASH)"/>
                    <xsd:enumeration value="[AP]Customer Ref Doc"/>
                    <xsd:enumeration value="[AP]EAI"/>
                    <xsd:enumeration value="[AP]EAI-ADM"/>
                    <xsd:enumeration value="[AP]EDI-ADM"/>
                    <xsd:enumeration value="[AP]EDI-CYCLONE"/>
                    <xsd:enumeration value="[AP]EDI-GENTRAN"/>
                    <xsd:enumeration value="[AP]EDI-SI"/>
                    <xsd:enumeration value="[AP]EDI-VAN"/>
                    <xsd:enumeration value="[AP]EDI-webMethods"/>
                    <xsd:enumeration value="[AP]ESOP"/>
                    <xsd:enumeration value="[AP]FAS"/>
                    <xsd:enumeration value="[AP]FAS/WAM"/>
                    <xsd:enumeration value="[AP]FAS/WAS-ADM"/>
                    <xsd:enumeration value="[AP]FP"/>
                    <xsd:enumeration value="[AP]FP-ADM"/>
                    <xsd:enumeration value="[AP]GDW"/>
                    <xsd:enumeration value="[AP]GPM"/>
                    <xsd:enumeration value="[AP]Green-LOG"/>
                    <xsd:enumeration value="[AP]Green-MFG"/>
                    <xsd:enumeration value="[AP]Green-FIN"/>
                    <xsd:enumeration value="[AP]Green-MES"/>
                    <xsd:enumeration value="[AP]HRMS ADM"/>
                    <xsd:enumeration value="[AP]HRMS AWF"/>
                    <xsd:enumeration value="[AP]HRMS BPM"/>
                    <xsd:enumeration value="[AP]HRMS CMP"/>
                    <xsd:enumeration value="[AP]HRMS CON"/>
                    <xsd:enumeration value="[AP]HRMS HAP"/>
                    <xsd:enumeration value="[AP]HRMS HOS"/>
                    <xsd:enumeration value="[AP]HRMS HRD"/>
                    <xsd:enumeration value="[AP]HRMS INF"/>
                    <xsd:enumeration value="[AP]HRMS LOT"/>
                    <xsd:enumeration value="[AP]HRMS PRD"/>
                    <xsd:enumeration value="[AP]HRMS STK"/>
                    <xsd:enumeration value="[AP]HRMS TGA"/>
                    <xsd:enumeration value="[AP]I2-DS"/>
                    <xsd:enumeration value="[AP]IMPC"/>
                    <xsd:enumeration value="[AP]IQDC"/>
                    <xsd:enumeration value="[AP]KM-ADM"/>
                    <xsd:enumeration value="[AP]KM-ITKM"/>
                    <xsd:enumeration value="[AP]KM-MFG KM"/>
                    <xsd:enumeration value="[AP]MOSS-ADM"/>
                    <xsd:enumeration value="[AP]NetWeaver"/>
                    <xsd:enumeration value="[AP]myService-BM"/>
                    <xsd:enumeration value="[AP]myService-ER"/>
                    <xsd:enumeration value="[AP]myService-IM"/>
                    <xsd:enumeration value="[AP]myService-SA"/>
                    <xsd:enumeration value="[AP]myService-SM"/>
                    <xsd:enumeration value="[AP]myService-VM"/>
                    <xsd:enumeration value="[AP]myService-BASIS"/>
                    <xsd:enumeration value="[AP]PDM ADM"/>
                    <xsd:enumeration value="[AP]PDM AGILE"/>
                    <xsd:enumeration value="[AP]PDM CIM"/>
                    <xsd:enumeration value="[AP]PDM Client Program"/>
                    <xsd:enumeration value="[AP]PDM CTO"/>
                    <xsd:enumeration value="[AP]PDM ECAD IF"/>
                    <xsd:enumeration value="[AP]PDM EDM"/>
                    <xsd:enumeration value="[AP]PDM GENERAL"/>
                    <xsd:enumeration value="[AP]PDM ME"/>
                    <xsd:enumeration value="[AP]PDM PCM"/>
                    <xsd:enumeration value="[AP]PDMERP IF"/>
                    <xsd:enumeration value="[AP]PPS-ADM"/>
                    <xsd:enumeration value="[AP]SAP-BA"/>
                    <xsd:enumeration value="[AP]SAP-BC"/>
                    <xsd:enumeration value="[AP]SAP-BOBI"/>
                    <xsd:enumeration value="[AP]SAP-BODS"/>
                    <xsd:enumeration value="[AP]SAP-BW"/>
                    <xsd:enumeration value="[AP]SAP-CO"/>
                    <xsd:enumeration value="[AP]SAP-CROSS"/>
                    <xsd:enumeration value="[AP]SAP-ECCS"/>
                    <xsd:enumeration value="[AP]SAP-ERP6.0"/>
                    <xsd:enumeration value="[AP]SAP-FI"/>
                    <xsd:enumeration value="[AP]SAP-GUI"/>
                    <xsd:enumeration value="[AP]SAP-IEB"/>
                    <xsd:enumeration value="[AP]SAP-MM"/>
                    <xsd:enumeration value="[AP]SAP-PP"/>
                    <xsd:enumeration value="[AP]SAP-SD"/>
                    <xsd:enumeration value="[AP]SAP-YE"/>
                    <xsd:enumeration value="[AP]SCP"/>
                    <xsd:enumeration value="[AP]SCP(history)"/>
                    <xsd:enumeration value="[AP]SCP(history)-ADM"/>
                    <xsd:enumeration value="[AP]SI-ADM"/>
                    <xsd:enumeration value="[AP]SSTF"/>
                    <xsd:enumeration value="[AP]Staging"/>
                    <xsd:enumeration value="[AP]Staging-ADM"/>
                    <xsd:enumeration value="[AP]TRITON"/>
                    <xsd:enumeration value="[AP]TRITON-ADM"/>
                    <xsd:enumeration value="[AP]VF"/>
                    <xsd:enumeration value="[AP]VF-ADM"/>
                    <xsd:enumeration value="[AP]WEB-SERVICES"/>
                    <xsd:enumeration value="[AP]WEPP"/>
                    <xsd:enumeration value="[AP]WEPP-ADM"/>
                    <xsd:enumeration value="[AP]WIS"/>
                    <xsd:enumeration value="[AP]WIS-ADM"/>
                    <xsd:enumeration value="[AP]WOMS"/>
                    <xsd:enumeration value="[AP]WOMS-ADM"/>
                    <xsd:enumeration value="[AP]XML"/>
                    <xsd:enumeration value="[CC]CC Operation(General)"/>
                    <xsd:enumeration value="[CIM]LCS"/>
                    <xsd:enumeration value="[CIM]Legacy MIC"/>
                    <xsd:enumeration value="[CIM]Legacy SFCS"/>
                    <xsd:enumeration value="[CIM]LMS"/>
                    <xsd:enumeration value="[CIM]P2L"/>
                    <xsd:enumeration value="[CIM]RFID"/>
                    <xsd:enumeration value="[CIM]SCT"/>
                    <xsd:enumeration value="[CIM]CIM-ADM"/>
                    <xsd:enumeration value="[CIM]SFCS-COMMON"/>
                    <xsd:enumeration value="[CIM]SFCS-KB"/>
                    <xsd:enumeration value="[CIM]SFCS-MA"/>
                    <xsd:enumeration value="[CIM]SFCS-MI"/>
                    <xsd:enumeration value="[CIM]SFCS-SM"/>
                    <xsd:enumeration value="[CIM]SFCS-WCS"/>
                    <xsd:enumeration value="[CIM] WMS"/>
                    <xsd:enumeration value="[DC]AD"/>
                    <xsd:enumeration value="[DC]ANTIVIRUS"/>
                    <xsd:enumeration value="N/A"/>
                  </xsd:restriction>
                </xsd:simpleType>
              </xsd:element>
            </xsd:sequence>
          </xsd:extension>
        </xsd:complexContent>
      </xsd:complexType>
    </xsd:element>
    <xsd:element name="Document_x0020_Type" ma:index="4" ma:displayName="Document Type" ma:description="Document Type" ma:format="Dropdown" ma:internalName="Document_x0020_Type">
      <xsd:simpleType>
        <xsd:restriction base="dms:Choice">
          <xsd:enumeration value="Action Item"/>
          <xsd:enumeration value="Announcement"/>
          <xsd:enumeration value="Assessment"/>
          <xsd:enumeration value="BA"/>
          <xsd:enumeration value="CC Operation Management Report"/>
          <xsd:enumeration value="Change Request"/>
          <xsd:enumeration value="Cut-Over Plan"/>
          <xsd:enumeration value="Discussion"/>
          <xsd:enumeration value="EDI MIG"/>
          <xsd:enumeration value="Event Reporting"/>
          <xsd:enumeration value="Excuting Report/Log (Daily/Summary)"/>
          <xsd:enumeration value="FAQ"/>
          <xsd:enumeration value="Form Template"/>
          <xsd:enumeration value="Handover Management Material"/>
          <xsd:enumeration value="Handover Training"/>
          <xsd:enumeration value="Incident Report"/>
          <xsd:enumeration value="Installation guide"/>
          <xsd:enumeration value="Issue &amp; Problem"/>
          <xsd:enumeration value="Labeling Spec"/>
          <xsd:enumeration value="Layout Drawing"/>
          <xsd:enumeration value="Lesson Learned"/>
          <xsd:enumeration value="Meeting Minutes"/>
          <xsd:enumeration value="Migration Document"/>
          <xsd:enumeration value="Operation guide"/>
          <xsd:enumeration value="Order Scenarios"/>
          <xsd:enumeration value="P.S.P.G."/>
          <xsd:enumeration value="Plan"/>
          <xsd:enumeration value="Pre-SA"/>
          <xsd:enumeration value="Presentation"/>
          <xsd:enumeration value="Process Blueprint"/>
          <xsd:enumeration value="Project Plan"/>
          <xsd:enumeration value="Proposal"/>
          <xsd:enumeration value="Q&amp;A"/>
          <xsd:enumeration value="Reference"/>
          <xsd:enumeration value="RFQ/RFI"/>
          <xsd:enumeration value="SA"/>
          <xsd:enumeration value="SAP-FN"/>
          <xsd:enumeration value="SAP-TE"/>
          <xsd:enumeration value="SAP-UT"/>
          <xsd:enumeration value="SAP-TTT"/>
          <xsd:enumeration value="SD"/>
          <xsd:enumeration value="SOP"/>
          <xsd:enumeration value="Spec."/>
          <xsd:enumeration value="Status Report"/>
          <xsd:enumeration value="Study Guide"/>
          <xsd:enumeration value="System Architecture"/>
          <xsd:enumeration value="System Base information"/>
          <xsd:enumeration value="System configuration"/>
          <xsd:enumeration value="System Function Flow"/>
          <xsd:enumeration value="System Information Flow"/>
          <xsd:enumeration value="Task of Enhancement"/>
          <xsd:enumeration value="Test Plan/Records"/>
          <xsd:enumeration value="Trobleshooting guide"/>
          <xsd:enumeration value="User Guide"/>
          <xsd:enumeration value="User Requirement"/>
        </xsd:restriction>
      </xsd:simpleType>
    </xsd:element>
    <xsd:element name="Site" ma:index="5" nillable="true" ma:displayName="Site" ma:description="Site" ma:internalName="Sit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WW"/>
                    <xsd:enumeration value="WHQ-ML10"/>
                    <xsd:enumeration value="WHQ-MLL0"/>
                    <xsd:enumeration value="WHC"/>
                    <xsd:enumeration value="WNH"/>
                    <xsd:enumeration value="WIH"/>
                    <xsd:enumeration value="WZS"/>
                    <xsd:enumeration value="WKS"/>
                    <xsd:enumeration value="WPH"/>
                    <xsd:enumeration value="WMX"/>
                    <xsd:enumeration value="WCZ"/>
                    <xsd:enumeration value="WTX"/>
                    <xsd:enumeration value="WSE"/>
                    <xsd:enumeration value="WJP"/>
                    <xsd:enumeration value="WIN"/>
                    <xsd:enumeration value="WMKS"/>
                    <xsd:enumeration value="ATZS"/>
                    <xsd:enumeration value="WITX"/>
                    <xsd:enumeration value="WVS"/>
                    <xsd:enumeration value="WSG"/>
                    <xsd:enumeration value="GSDC"/>
                    <xsd:enumeration value="WCD"/>
                    <xsd:enumeration value="WCQ"/>
                    <xsd:enumeration value="WTZ"/>
                    <xsd:enumeration value="WOK"/>
                    <xsd:enumeration value="WYHQ"/>
                    <xsd:enumeration value="WMY"/>
                    <xsd:enumeration value="WBR"/>
                    <xsd:enumeration value="WSMX"/>
                    <xsd:enumeration value="WSCO"/>
                    <xsd:enumeration value="WSCQ"/>
                    <xsd:enumeration value="WCKS"/>
                    <xsd:enumeration value="WEMY"/>
                    <xsd:enumeration value="WCCN"/>
                    <xsd:enumeration value="WCLX"/>
                    <xsd:enumeration value="WYHK"/>
                    <xsd:enumeration value="WYKS"/>
                    <xsd:enumeration value="WRKS"/>
                    <xsd:enumeration value="AGI"/>
                    <xsd:enumeration value="ISL"/>
                    <xsd:enumeration value="WHK"/>
                    <xsd:enumeration value="WSCZ"/>
                    <xsd:enumeration value="WCH"/>
                    <xsd:enumeration value="WQD"/>
                    <xsd:enumeration value="WSH"/>
                    <xsd:enumeration value="WAM"/>
                    <xsd:enumeration value="WGTX"/>
                    <xsd:enumeration value="WYJP"/>
                    <xsd:enumeration value="WKA"/>
                    <xsd:enumeration value="WOSH"/>
                    <xsd:enumeration value="WWC"/>
                    <xsd:enumeration value="WFQ"/>
                    <xsd:enumeration value="WSMY"/>
                    <xsd:enumeration value="WEHK"/>
                    <xsd:enumeration value="WEHQ"/>
                    <xsd:enumeration value="WSSG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3E4BF0-5A5D-419E-8B66-4D252D3306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1D3F34-9697-4F45-AC79-D87C5E6391B0}">
  <ds:schemaRefs>
    <ds:schemaRef ds:uri="c000a10d-05d5-4f11-b19e-3d8494352b8d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a285bffa-3e82-456b-9c8d-902356072ba9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D2AA36F-CC71-4F34-ACF5-AFE016C292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85bffa-3e82-456b-9c8d-902356072ba9"/>
    <ds:schemaRef ds:uri="c000a10d-05d5-4f11-b19e-3d8494352b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65</TotalTime>
  <Words>2080</Words>
  <Application>Microsoft Office PowerPoint</Application>
  <PresentationFormat>如螢幕大小 (4:3)</PresentationFormat>
  <Paragraphs>741</Paragraphs>
  <Slides>116</Slides>
  <Notes>1</Notes>
  <HiddenSlides>0</HiddenSlides>
  <MMClips>0</MMClips>
  <ScaleCrop>false</ScaleCrop>
  <HeadingPairs>
    <vt:vector size="8" baseType="variant">
      <vt:variant>
        <vt:lpstr>使用字型</vt:lpstr>
      </vt:variant>
      <vt:variant>
        <vt:i4>6</vt:i4>
      </vt:variant>
      <vt:variant>
        <vt:lpstr>佈景主題</vt:lpstr>
      </vt:variant>
      <vt:variant>
        <vt:i4>4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16</vt:i4>
      </vt:variant>
    </vt:vector>
  </HeadingPairs>
  <TitlesOfParts>
    <vt:vector size="127" baseType="lpstr">
      <vt:lpstr>PT Serif</vt:lpstr>
      <vt:lpstr>微軟正黑體</vt:lpstr>
      <vt:lpstr>Arial</vt:lpstr>
      <vt:lpstr>Calibri</vt:lpstr>
      <vt:lpstr>Trebuchet MS</vt:lpstr>
      <vt:lpstr>Wingdings</vt:lpstr>
      <vt:lpstr>Default Design</vt:lpstr>
      <vt:lpstr>WIV008 template-0120</vt:lpstr>
      <vt:lpstr>1_WIV008 template-0120</vt:lpstr>
      <vt:lpstr>2_WIV008 template-0120</vt:lpstr>
      <vt:lpstr>think-cell Slide</vt:lpstr>
      <vt:lpstr>PowerPoint 簡報</vt:lpstr>
      <vt:lpstr>Agenda </vt:lpstr>
      <vt:lpstr>常見的問題</vt:lpstr>
      <vt:lpstr>Motivation</vt:lpstr>
      <vt:lpstr>課程說明</vt:lpstr>
      <vt:lpstr>Git 和 GitHub差在那裡？</vt:lpstr>
      <vt:lpstr>Git 裡的HEAD是什麼東西？</vt:lpstr>
      <vt:lpstr>merge和rebase有何不同？</vt:lpstr>
      <vt:lpstr>課程說明</vt:lpstr>
      <vt:lpstr>實作說明</vt:lpstr>
      <vt:lpstr>PowerPoint 簡報</vt:lpstr>
      <vt:lpstr>Lab 1  Git初體驗</vt:lpstr>
      <vt:lpstr>先體會一下GIT (1)</vt:lpstr>
      <vt:lpstr>先體會一下GIT (2)</vt:lpstr>
      <vt:lpstr>先體會一下GIT (3)</vt:lpstr>
      <vt:lpstr>PowerPoint 簡報</vt:lpstr>
      <vt:lpstr>已經接觸了..</vt:lpstr>
      <vt:lpstr>GIT架構</vt:lpstr>
      <vt:lpstr>PowerPoint 簡報</vt:lpstr>
      <vt:lpstr>PowerPoint 簡報</vt:lpstr>
      <vt:lpstr>GIT是什麼？</vt:lpstr>
      <vt:lpstr>GIT是什麼？</vt:lpstr>
      <vt:lpstr>分散式與集中式？</vt:lpstr>
      <vt:lpstr>關於「協同開發」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集中式，如何多人協作？</vt:lpstr>
      <vt:lpstr>Server掛掉 \ 網路掛掉 怎麼辦？</vt:lpstr>
      <vt:lpstr>GIT的缺點</vt:lpstr>
      <vt:lpstr>PowerPoint 簡報</vt:lpstr>
      <vt:lpstr>GIT 三大物件成員</vt:lpstr>
      <vt:lpstr>GIT--blob</vt:lpstr>
      <vt:lpstr>PowerPoint 簡報</vt:lpstr>
      <vt:lpstr>GIT--tree</vt:lpstr>
      <vt:lpstr>PowerPoint 簡報</vt:lpstr>
      <vt:lpstr>PowerPoint 簡報</vt:lpstr>
      <vt:lpstr>GIT-- commit</vt:lpstr>
      <vt:lpstr>PowerPoint 簡報</vt:lpstr>
      <vt:lpstr>PowerPoint 簡報</vt:lpstr>
      <vt:lpstr>PowerPoint 簡報</vt:lpstr>
      <vt:lpstr>PowerPoint 簡報</vt:lpstr>
      <vt:lpstr>GIT 四大指標物件</vt:lpstr>
      <vt:lpstr>GIT--Tag</vt:lpstr>
      <vt:lpstr>PowerPoint 簡報</vt:lpstr>
      <vt:lpstr>Tag Sample</vt:lpstr>
      <vt:lpstr>GIT--HEAD</vt:lpstr>
      <vt:lpstr>PowerPoint 簡報</vt:lpstr>
      <vt:lpstr>PowerPoint 簡報</vt:lpstr>
      <vt:lpstr>PowerPoint 簡報</vt:lpstr>
      <vt:lpstr>PowerPoint 簡報</vt:lpstr>
      <vt:lpstr>GIT--remote</vt:lpstr>
      <vt:lpstr>GIT--remote</vt:lpstr>
      <vt:lpstr>PowerPoint 簡報</vt:lpstr>
      <vt:lpstr>PowerPoint 簡報</vt:lpstr>
      <vt:lpstr>PowerPoint 簡報</vt:lpstr>
      <vt:lpstr>GIT 四大指標物件</vt:lpstr>
      <vt:lpstr>PowerPoint 簡報</vt:lpstr>
      <vt:lpstr>檔案還原的幾種指令</vt:lpstr>
      <vt:lpstr>說明git restore</vt:lpstr>
      <vt:lpstr>檔案還原的幾種指令</vt:lpstr>
      <vt:lpstr>git reset</vt:lpstr>
      <vt:lpstr>git reset</vt:lpstr>
      <vt:lpstr>git reset</vt:lpstr>
      <vt:lpstr>說明git reset</vt:lpstr>
      <vt:lpstr>說明git reset –進階</vt:lpstr>
      <vt:lpstr>檔案還原的幾種指令</vt:lpstr>
      <vt:lpstr>git revert</vt:lpstr>
      <vt:lpstr>git revert</vt:lpstr>
      <vt:lpstr>說明git revert</vt:lpstr>
      <vt:lpstr>檔案還原的幾種指令</vt:lpstr>
      <vt:lpstr>GIT 四大指標物件</vt:lpstr>
      <vt:lpstr>PowerPoint 簡報</vt:lpstr>
      <vt:lpstr>PowerPoint 簡報</vt:lpstr>
      <vt:lpstr>PowerPoint 簡報</vt:lpstr>
      <vt:lpstr>Lab 2  分支</vt:lpstr>
      <vt:lpstr>PowerPoint 簡報</vt:lpstr>
      <vt:lpstr>PowerPoint 簡報</vt:lpstr>
      <vt:lpstr>PowerPoint 簡報</vt:lpstr>
      <vt:lpstr>GIT 四大指標物件</vt:lpstr>
      <vt:lpstr>分支長怎樣？</vt:lpstr>
      <vt:lpstr>分支長怎樣？</vt:lpstr>
      <vt:lpstr>PowerPoint 簡報</vt:lpstr>
      <vt:lpstr>分支策略</vt:lpstr>
      <vt:lpstr>建立分支</vt:lpstr>
      <vt:lpstr>切換分支</vt:lpstr>
      <vt:lpstr>分支commit</vt:lpstr>
      <vt:lpstr>合併分支</vt:lpstr>
      <vt:lpstr>合併分支 (Fast Forward) </vt:lpstr>
      <vt:lpstr>建立分支 – case 2</vt:lpstr>
      <vt:lpstr>切換分支</vt:lpstr>
      <vt:lpstr>分支commit</vt:lpstr>
      <vt:lpstr>Master commit</vt:lpstr>
      <vt:lpstr>Master commit</vt:lpstr>
      <vt:lpstr>Git Merge</vt:lpstr>
      <vt:lpstr>Git Rebase -- Case 3</vt:lpstr>
      <vt:lpstr>Rebase vs merge</vt:lpstr>
      <vt:lpstr>Rebase使用時機</vt:lpstr>
      <vt:lpstr>合併解衝突</vt:lpstr>
      <vt:lpstr>合併解衝突</vt:lpstr>
      <vt:lpstr>PowerPoint 簡報</vt:lpstr>
      <vt:lpstr>Lab 3  git merge practice</vt:lpstr>
      <vt:lpstr>PowerPoint 簡報</vt:lpstr>
      <vt:lpstr>PowerPoint 簡報</vt:lpstr>
      <vt:lpstr>Gitlab Ground Rules</vt:lpstr>
      <vt:lpstr>Gitlab Flow</vt:lpstr>
      <vt:lpstr>PowerPoint 簡報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李宗勳</dc:creator>
  <cp:lastModifiedBy>李宗勳</cp:lastModifiedBy>
  <cp:revision>66</cp:revision>
  <dcterms:created xsi:type="dcterms:W3CDTF">2019-09-08T19:57:43Z</dcterms:created>
  <dcterms:modified xsi:type="dcterms:W3CDTF">2019-09-10T01:31:30Z</dcterms:modified>
</cp:coreProperties>
</file>